
<file path=[Content_Types].xml><?xml version="1.0" encoding="utf-8"?>
<Types xmlns="http://schemas.openxmlformats.org/package/2006/content-types"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7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notesSlides/notesSlide14.xml" ContentType="application/vnd.openxmlformats-officedocument.presentationml.notesSl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>
  <p:sldMasterIdLst>
    <p:sldMasterId id="2147483648" r:id="rId1"/>
  </p:sldMasterIdLst>
  <p:notesMasterIdLst>
    <p:notesMasterId r:id="rId22"/>
  </p:notesMasterIdLst>
  <p:sldIdLst>
    <p:sldId id="1722" r:id="rId2"/>
    <p:sldId id="1731" r:id="rId3"/>
    <p:sldId id="1635" r:id="rId4"/>
    <p:sldId id="2261" r:id="rId5"/>
    <p:sldId id="2260" r:id="rId6"/>
    <p:sldId id="2244" r:id="rId7"/>
    <p:sldId id="1482" r:id="rId8"/>
    <p:sldId id="1091" r:id="rId9"/>
    <p:sldId id="1171" r:id="rId10"/>
    <p:sldId id="1483" r:id="rId11"/>
    <p:sldId id="1726" r:id="rId12"/>
    <p:sldId id="1593" r:id="rId13"/>
    <p:sldId id="1728" r:id="rId14"/>
    <p:sldId id="2387" r:id="rId15"/>
    <p:sldId id="2262" r:id="rId16"/>
    <p:sldId id="2263" r:id="rId17"/>
    <p:sldId id="2264" r:id="rId18"/>
    <p:sldId id="2272" r:id="rId19"/>
    <p:sldId id="2274" r:id="rId20"/>
    <p:sldId id="2276" r:id="rId21"/>
  </p:sldIdLst>
  <p:sldSz cx="12192000" cy="6858000"/>
  <p:notesSz cx="6858000" cy="9144000"/>
  <p:embeddedFontLst>
    <p:embeddedFont>
      <p:font typeface="Calibri" panose="020F0502020204030204" pitchFamily="34" charset="0"/>
      <p:regular r:id="rId23"/>
      <p:bold r:id="rId24"/>
      <p:italic r:id="rId25"/>
      <p:boldItalic r:id="rId26"/>
    </p:embeddedFont>
  </p:embeddedFontLst>
  <p:custDataLst>
    <p:tags r:id="rId27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67" userDrawn="1">
          <p15:clr>
            <a:srgbClr val="A4A3A4"/>
          </p15:clr>
        </p15:guide>
        <p15:guide id="2" pos="438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FF00"/>
    <a:srgbClr val="FF00FF"/>
    <a:srgbClr val="0000FF"/>
    <a:srgbClr val="000000"/>
    <a:srgbClr val="F3D9DC"/>
    <a:srgbClr val="EFCCCF"/>
    <a:srgbClr val="FFFFFF"/>
    <a:srgbClr val="F7E7E9"/>
    <a:srgbClr val="B0C2E5"/>
    <a:srgbClr val="7191D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9352" autoAdjust="0"/>
    <p:restoredTop sz="96327" autoAdjust="0"/>
  </p:normalViewPr>
  <p:slideViewPr>
    <p:cSldViewPr snapToGrid="0">
      <p:cViewPr varScale="1">
        <p:scale>
          <a:sx n="106" d="100"/>
          <a:sy n="106" d="100"/>
        </p:scale>
        <p:origin x="378" y="108"/>
      </p:cViewPr>
      <p:guideLst>
        <p:guide orient="horz" pos="867"/>
        <p:guide pos="438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-3312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font" Target="fonts/font4.fntdata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font" Target="fonts/font3.fntdata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2.fntdata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font" Target="fonts/font1.fntdata"/><Relationship Id="rId28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Relationship Id="rId27" Type="http://schemas.openxmlformats.org/officeDocument/2006/relationships/tags" Target="tags/tag1.xml"/><Relationship Id="rId30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6315185741682282E-2"/>
          <c:y val="2.6417447585936279E-2"/>
          <c:w val="0.76661183243453179"/>
          <c:h val="0.87026380483546251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ZP celkem</c:v>
                </c:pt>
              </c:strCache>
            </c:strRef>
          </c:tx>
          <c:spPr>
            <a:ln w="28575" cap="rnd">
              <a:solidFill>
                <a:srgbClr val="000000"/>
              </a:solidFill>
              <a:round/>
            </a:ln>
            <a:effectLst/>
          </c:spPr>
          <c:marker>
            <c:symbol val="none"/>
          </c:marker>
          <c:cat>
            <c:strRef>
              <c:f>List1!$F$1:$KU$1</c:f>
              <c:strCache>
                <c:ptCount val="302"/>
                <c:pt idx="0">
                  <c:v>24-XII.</c:v>
                </c:pt>
                <c:pt idx="1">
                  <c:v>25-XII.</c:v>
                </c:pt>
                <c:pt idx="2">
                  <c:v>26-XII.</c:v>
                </c:pt>
                <c:pt idx="3">
                  <c:v>27-XII.</c:v>
                </c:pt>
                <c:pt idx="4">
                  <c:v>28-XII.</c:v>
                </c:pt>
                <c:pt idx="5">
                  <c:v>29-XII.</c:v>
                </c:pt>
                <c:pt idx="6">
                  <c:v>30-XII.</c:v>
                </c:pt>
                <c:pt idx="7">
                  <c:v>31-XII.</c:v>
                </c:pt>
                <c:pt idx="8">
                  <c:v>1-I.</c:v>
                </c:pt>
                <c:pt idx="9">
                  <c:v>2-I.</c:v>
                </c:pt>
                <c:pt idx="10">
                  <c:v>3-I.</c:v>
                </c:pt>
                <c:pt idx="11">
                  <c:v>4-I.</c:v>
                </c:pt>
                <c:pt idx="12">
                  <c:v>5-I.</c:v>
                </c:pt>
                <c:pt idx="13">
                  <c:v>6-I.</c:v>
                </c:pt>
                <c:pt idx="14">
                  <c:v>7-I.</c:v>
                </c:pt>
                <c:pt idx="15">
                  <c:v>8-I.</c:v>
                </c:pt>
                <c:pt idx="16">
                  <c:v>9-I.</c:v>
                </c:pt>
                <c:pt idx="17">
                  <c:v>10-I.</c:v>
                </c:pt>
                <c:pt idx="18">
                  <c:v>11-I.</c:v>
                </c:pt>
                <c:pt idx="19">
                  <c:v>12-I.</c:v>
                </c:pt>
                <c:pt idx="20">
                  <c:v>13-I.</c:v>
                </c:pt>
                <c:pt idx="21">
                  <c:v>14-I.</c:v>
                </c:pt>
                <c:pt idx="22">
                  <c:v>15-I.</c:v>
                </c:pt>
                <c:pt idx="23">
                  <c:v>16-I.</c:v>
                </c:pt>
                <c:pt idx="24">
                  <c:v>17-I.</c:v>
                </c:pt>
                <c:pt idx="25">
                  <c:v>18-I.</c:v>
                </c:pt>
                <c:pt idx="26">
                  <c:v>19-I.</c:v>
                </c:pt>
                <c:pt idx="27">
                  <c:v>20-I.</c:v>
                </c:pt>
                <c:pt idx="28">
                  <c:v>21-I.</c:v>
                </c:pt>
                <c:pt idx="29">
                  <c:v>22-I.</c:v>
                </c:pt>
                <c:pt idx="30">
                  <c:v>23-I.</c:v>
                </c:pt>
                <c:pt idx="31">
                  <c:v>24-I.</c:v>
                </c:pt>
                <c:pt idx="32">
                  <c:v>25-I.</c:v>
                </c:pt>
                <c:pt idx="33">
                  <c:v>26-I.</c:v>
                </c:pt>
                <c:pt idx="34">
                  <c:v>27-I.</c:v>
                </c:pt>
                <c:pt idx="35">
                  <c:v>28-I.</c:v>
                </c:pt>
                <c:pt idx="36">
                  <c:v>29-I.</c:v>
                </c:pt>
                <c:pt idx="37">
                  <c:v>30-I.</c:v>
                </c:pt>
                <c:pt idx="38">
                  <c:v>31-I.</c:v>
                </c:pt>
                <c:pt idx="39">
                  <c:v>1-II.</c:v>
                </c:pt>
                <c:pt idx="40">
                  <c:v>2-II.</c:v>
                </c:pt>
                <c:pt idx="41">
                  <c:v>3-II.</c:v>
                </c:pt>
                <c:pt idx="42">
                  <c:v>4-II.</c:v>
                </c:pt>
                <c:pt idx="43">
                  <c:v>5-II.</c:v>
                </c:pt>
                <c:pt idx="44">
                  <c:v>6-II.</c:v>
                </c:pt>
                <c:pt idx="45">
                  <c:v>7-II.</c:v>
                </c:pt>
                <c:pt idx="46">
                  <c:v>8-II.</c:v>
                </c:pt>
                <c:pt idx="47">
                  <c:v>9-II.</c:v>
                </c:pt>
                <c:pt idx="48">
                  <c:v>10-II.</c:v>
                </c:pt>
                <c:pt idx="49">
                  <c:v>11-II.</c:v>
                </c:pt>
                <c:pt idx="50">
                  <c:v>12-II.</c:v>
                </c:pt>
                <c:pt idx="51">
                  <c:v>13-II.</c:v>
                </c:pt>
                <c:pt idx="52">
                  <c:v>14-II.</c:v>
                </c:pt>
                <c:pt idx="53">
                  <c:v>15-II.</c:v>
                </c:pt>
                <c:pt idx="54">
                  <c:v>16-II.</c:v>
                </c:pt>
                <c:pt idx="55">
                  <c:v>17-II.</c:v>
                </c:pt>
                <c:pt idx="56">
                  <c:v>18-II.</c:v>
                </c:pt>
                <c:pt idx="57">
                  <c:v>19-II.</c:v>
                </c:pt>
                <c:pt idx="58">
                  <c:v>20-II.</c:v>
                </c:pt>
                <c:pt idx="59">
                  <c:v>21-II.</c:v>
                </c:pt>
                <c:pt idx="60">
                  <c:v>22-II.</c:v>
                </c:pt>
                <c:pt idx="61">
                  <c:v>23-II.</c:v>
                </c:pt>
                <c:pt idx="62">
                  <c:v>24-II.</c:v>
                </c:pt>
                <c:pt idx="63">
                  <c:v>25-II.</c:v>
                </c:pt>
                <c:pt idx="64">
                  <c:v>26-II.</c:v>
                </c:pt>
                <c:pt idx="65">
                  <c:v>27-II.</c:v>
                </c:pt>
                <c:pt idx="66">
                  <c:v>28-II.</c:v>
                </c:pt>
                <c:pt idx="67">
                  <c:v>1-III.</c:v>
                </c:pt>
                <c:pt idx="68">
                  <c:v>2-III.</c:v>
                </c:pt>
                <c:pt idx="69">
                  <c:v>3-III.</c:v>
                </c:pt>
                <c:pt idx="70">
                  <c:v>4-III.</c:v>
                </c:pt>
                <c:pt idx="71">
                  <c:v>5-III.</c:v>
                </c:pt>
                <c:pt idx="72">
                  <c:v>6-III.</c:v>
                </c:pt>
                <c:pt idx="73">
                  <c:v>7-III.</c:v>
                </c:pt>
                <c:pt idx="74">
                  <c:v>8-III.</c:v>
                </c:pt>
                <c:pt idx="75">
                  <c:v>9-III.</c:v>
                </c:pt>
                <c:pt idx="76">
                  <c:v>10-III.</c:v>
                </c:pt>
                <c:pt idx="77">
                  <c:v>11-III.</c:v>
                </c:pt>
                <c:pt idx="78">
                  <c:v>12-III.</c:v>
                </c:pt>
                <c:pt idx="79">
                  <c:v>13-III.</c:v>
                </c:pt>
                <c:pt idx="80">
                  <c:v>14-III.</c:v>
                </c:pt>
                <c:pt idx="81">
                  <c:v>15-III.</c:v>
                </c:pt>
                <c:pt idx="82">
                  <c:v>16-III.</c:v>
                </c:pt>
                <c:pt idx="83">
                  <c:v>17-III.</c:v>
                </c:pt>
                <c:pt idx="84">
                  <c:v>18-III.</c:v>
                </c:pt>
                <c:pt idx="85">
                  <c:v>19-III.</c:v>
                </c:pt>
                <c:pt idx="86">
                  <c:v>20-III.</c:v>
                </c:pt>
                <c:pt idx="87">
                  <c:v>21-III.</c:v>
                </c:pt>
                <c:pt idx="88">
                  <c:v>22-III.</c:v>
                </c:pt>
                <c:pt idx="89">
                  <c:v>23-III.</c:v>
                </c:pt>
                <c:pt idx="90">
                  <c:v>24-III.</c:v>
                </c:pt>
                <c:pt idx="91">
                  <c:v>25-III.</c:v>
                </c:pt>
                <c:pt idx="92">
                  <c:v>26-III.</c:v>
                </c:pt>
                <c:pt idx="93">
                  <c:v>27-III.</c:v>
                </c:pt>
                <c:pt idx="94">
                  <c:v>28-III.</c:v>
                </c:pt>
                <c:pt idx="95">
                  <c:v>29-III.</c:v>
                </c:pt>
                <c:pt idx="96">
                  <c:v>30-III.</c:v>
                </c:pt>
                <c:pt idx="97">
                  <c:v>31-III.</c:v>
                </c:pt>
                <c:pt idx="98">
                  <c:v>1-IV.</c:v>
                </c:pt>
                <c:pt idx="99">
                  <c:v>2-IV.</c:v>
                </c:pt>
                <c:pt idx="100">
                  <c:v>3-IV.</c:v>
                </c:pt>
                <c:pt idx="101">
                  <c:v>4-IV.</c:v>
                </c:pt>
                <c:pt idx="102">
                  <c:v>5-IV.</c:v>
                </c:pt>
                <c:pt idx="103">
                  <c:v>6-IV.</c:v>
                </c:pt>
                <c:pt idx="104">
                  <c:v>7-IV.</c:v>
                </c:pt>
                <c:pt idx="105">
                  <c:v>8-IV.</c:v>
                </c:pt>
                <c:pt idx="106">
                  <c:v>9-IV.</c:v>
                </c:pt>
                <c:pt idx="107">
                  <c:v>10-IV.</c:v>
                </c:pt>
                <c:pt idx="108">
                  <c:v>11-IV.</c:v>
                </c:pt>
                <c:pt idx="109">
                  <c:v>12-IV.</c:v>
                </c:pt>
                <c:pt idx="110">
                  <c:v>13-IV.</c:v>
                </c:pt>
                <c:pt idx="111">
                  <c:v>14-IV.</c:v>
                </c:pt>
                <c:pt idx="112">
                  <c:v>15-IV.</c:v>
                </c:pt>
                <c:pt idx="113">
                  <c:v>16-IV.</c:v>
                </c:pt>
                <c:pt idx="114">
                  <c:v>17-IV.</c:v>
                </c:pt>
                <c:pt idx="115">
                  <c:v>18-IV.</c:v>
                </c:pt>
                <c:pt idx="116">
                  <c:v>19-IV.</c:v>
                </c:pt>
                <c:pt idx="117">
                  <c:v>20-IV.</c:v>
                </c:pt>
                <c:pt idx="118">
                  <c:v>21-IV.</c:v>
                </c:pt>
                <c:pt idx="119">
                  <c:v>22-IV.</c:v>
                </c:pt>
                <c:pt idx="120">
                  <c:v>23-IV.</c:v>
                </c:pt>
                <c:pt idx="121">
                  <c:v>24-IV.</c:v>
                </c:pt>
                <c:pt idx="122">
                  <c:v>25-IV.</c:v>
                </c:pt>
                <c:pt idx="123">
                  <c:v>26-IV.</c:v>
                </c:pt>
                <c:pt idx="124">
                  <c:v>27-IV.</c:v>
                </c:pt>
                <c:pt idx="125">
                  <c:v>28-IV.</c:v>
                </c:pt>
                <c:pt idx="126">
                  <c:v>29-IV.</c:v>
                </c:pt>
                <c:pt idx="127">
                  <c:v>30-IV.</c:v>
                </c:pt>
                <c:pt idx="128">
                  <c:v>1-V.</c:v>
                </c:pt>
                <c:pt idx="129">
                  <c:v>2-V.</c:v>
                </c:pt>
                <c:pt idx="130">
                  <c:v>3-V.</c:v>
                </c:pt>
                <c:pt idx="131">
                  <c:v>4-V.</c:v>
                </c:pt>
                <c:pt idx="132">
                  <c:v>5-V.</c:v>
                </c:pt>
                <c:pt idx="133">
                  <c:v>6-V.</c:v>
                </c:pt>
                <c:pt idx="134">
                  <c:v>7-V.</c:v>
                </c:pt>
                <c:pt idx="135">
                  <c:v>8-V.</c:v>
                </c:pt>
                <c:pt idx="136">
                  <c:v>9-V.</c:v>
                </c:pt>
                <c:pt idx="137">
                  <c:v>10-V.</c:v>
                </c:pt>
                <c:pt idx="138">
                  <c:v>11-V.</c:v>
                </c:pt>
                <c:pt idx="139">
                  <c:v>12-V.</c:v>
                </c:pt>
                <c:pt idx="140">
                  <c:v>13-V.</c:v>
                </c:pt>
                <c:pt idx="141">
                  <c:v>14-V.</c:v>
                </c:pt>
                <c:pt idx="142">
                  <c:v>15-V.</c:v>
                </c:pt>
                <c:pt idx="143">
                  <c:v>16-V.</c:v>
                </c:pt>
                <c:pt idx="144">
                  <c:v>17-V.</c:v>
                </c:pt>
                <c:pt idx="145">
                  <c:v>18-V.</c:v>
                </c:pt>
                <c:pt idx="146">
                  <c:v>19-V.</c:v>
                </c:pt>
                <c:pt idx="147">
                  <c:v>20-V.</c:v>
                </c:pt>
                <c:pt idx="148">
                  <c:v>21-V.</c:v>
                </c:pt>
                <c:pt idx="149">
                  <c:v>22-V.</c:v>
                </c:pt>
                <c:pt idx="150">
                  <c:v>23-V.</c:v>
                </c:pt>
                <c:pt idx="151">
                  <c:v>24-V.</c:v>
                </c:pt>
                <c:pt idx="152">
                  <c:v>25-V.</c:v>
                </c:pt>
                <c:pt idx="153">
                  <c:v>26-V.</c:v>
                </c:pt>
                <c:pt idx="154">
                  <c:v>27-V.</c:v>
                </c:pt>
                <c:pt idx="155">
                  <c:v>28-V.</c:v>
                </c:pt>
                <c:pt idx="156">
                  <c:v>29-V.</c:v>
                </c:pt>
                <c:pt idx="157">
                  <c:v>30-V.</c:v>
                </c:pt>
                <c:pt idx="158">
                  <c:v>31-V.</c:v>
                </c:pt>
                <c:pt idx="159">
                  <c:v>1-VI.</c:v>
                </c:pt>
                <c:pt idx="160">
                  <c:v>2-VI.</c:v>
                </c:pt>
                <c:pt idx="161">
                  <c:v>3-VI.</c:v>
                </c:pt>
                <c:pt idx="162">
                  <c:v>4-VI.</c:v>
                </c:pt>
                <c:pt idx="163">
                  <c:v>5-VI.</c:v>
                </c:pt>
                <c:pt idx="164">
                  <c:v>6-VI.</c:v>
                </c:pt>
                <c:pt idx="165">
                  <c:v>7-VI.</c:v>
                </c:pt>
                <c:pt idx="166">
                  <c:v>8-VI.</c:v>
                </c:pt>
                <c:pt idx="167">
                  <c:v>9-VI.</c:v>
                </c:pt>
                <c:pt idx="168">
                  <c:v>10-VI.</c:v>
                </c:pt>
                <c:pt idx="169">
                  <c:v>11-VI.</c:v>
                </c:pt>
                <c:pt idx="170">
                  <c:v>12-VI.</c:v>
                </c:pt>
                <c:pt idx="171">
                  <c:v>13-VI.</c:v>
                </c:pt>
                <c:pt idx="172">
                  <c:v>14-VI.</c:v>
                </c:pt>
                <c:pt idx="173">
                  <c:v>15-VI.</c:v>
                </c:pt>
                <c:pt idx="174">
                  <c:v>16-VI.</c:v>
                </c:pt>
                <c:pt idx="175">
                  <c:v>17-VI.</c:v>
                </c:pt>
                <c:pt idx="176">
                  <c:v>18-VI.</c:v>
                </c:pt>
                <c:pt idx="177">
                  <c:v>19-VI.</c:v>
                </c:pt>
                <c:pt idx="178">
                  <c:v>20-VI.</c:v>
                </c:pt>
                <c:pt idx="179">
                  <c:v>21-VI.</c:v>
                </c:pt>
                <c:pt idx="180">
                  <c:v>22-VI.</c:v>
                </c:pt>
                <c:pt idx="181">
                  <c:v>23-VI.</c:v>
                </c:pt>
                <c:pt idx="182">
                  <c:v>24-VI.</c:v>
                </c:pt>
                <c:pt idx="183">
                  <c:v>25-VI.</c:v>
                </c:pt>
                <c:pt idx="184">
                  <c:v>26-VI.</c:v>
                </c:pt>
                <c:pt idx="185">
                  <c:v>27-VI.</c:v>
                </c:pt>
                <c:pt idx="186">
                  <c:v>28-VI.</c:v>
                </c:pt>
                <c:pt idx="187">
                  <c:v>29-VI.</c:v>
                </c:pt>
                <c:pt idx="188">
                  <c:v>30-VI.</c:v>
                </c:pt>
                <c:pt idx="189">
                  <c:v>1-VII.</c:v>
                </c:pt>
                <c:pt idx="190">
                  <c:v>2-VII.</c:v>
                </c:pt>
                <c:pt idx="191">
                  <c:v>3-VII.</c:v>
                </c:pt>
                <c:pt idx="192">
                  <c:v>4-VII.</c:v>
                </c:pt>
                <c:pt idx="193">
                  <c:v>5-VII.</c:v>
                </c:pt>
                <c:pt idx="194">
                  <c:v>6-VII.</c:v>
                </c:pt>
                <c:pt idx="195">
                  <c:v>7-VII.</c:v>
                </c:pt>
                <c:pt idx="196">
                  <c:v>8-VII.</c:v>
                </c:pt>
                <c:pt idx="197">
                  <c:v>9-VII.</c:v>
                </c:pt>
                <c:pt idx="198">
                  <c:v>10-VII.</c:v>
                </c:pt>
                <c:pt idx="199">
                  <c:v>11-VII.</c:v>
                </c:pt>
                <c:pt idx="200">
                  <c:v>12-VII.</c:v>
                </c:pt>
                <c:pt idx="201">
                  <c:v>13-VII.</c:v>
                </c:pt>
                <c:pt idx="202">
                  <c:v>14-VII.</c:v>
                </c:pt>
                <c:pt idx="203">
                  <c:v>15-VII.</c:v>
                </c:pt>
                <c:pt idx="204">
                  <c:v>16-VII.</c:v>
                </c:pt>
                <c:pt idx="205">
                  <c:v>17-VII.</c:v>
                </c:pt>
                <c:pt idx="206">
                  <c:v>18-VII.</c:v>
                </c:pt>
                <c:pt idx="207">
                  <c:v>19-VII.</c:v>
                </c:pt>
                <c:pt idx="208">
                  <c:v>20-VII.</c:v>
                </c:pt>
                <c:pt idx="209">
                  <c:v>21-VII.</c:v>
                </c:pt>
                <c:pt idx="210">
                  <c:v>22-VII.</c:v>
                </c:pt>
                <c:pt idx="211">
                  <c:v>23-VII.</c:v>
                </c:pt>
                <c:pt idx="212">
                  <c:v>24-VII.</c:v>
                </c:pt>
                <c:pt idx="213">
                  <c:v>25-VII.</c:v>
                </c:pt>
                <c:pt idx="214">
                  <c:v>26-VII.</c:v>
                </c:pt>
                <c:pt idx="215">
                  <c:v>27-VII.</c:v>
                </c:pt>
                <c:pt idx="216">
                  <c:v>28-VII.</c:v>
                </c:pt>
                <c:pt idx="217">
                  <c:v>29-VII.</c:v>
                </c:pt>
                <c:pt idx="218">
                  <c:v>30-VII.</c:v>
                </c:pt>
                <c:pt idx="219">
                  <c:v>31-VII.</c:v>
                </c:pt>
                <c:pt idx="220">
                  <c:v>1-VIII.</c:v>
                </c:pt>
                <c:pt idx="221">
                  <c:v>2-VIII.</c:v>
                </c:pt>
                <c:pt idx="222">
                  <c:v>3-VIII.</c:v>
                </c:pt>
                <c:pt idx="223">
                  <c:v>4-VIII.</c:v>
                </c:pt>
                <c:pt idx="224">
                  <c:v>5-VIII.</c:v>
                </c:pt>
                <c:pt idx="225">
                  <c:v>6-VIII.</c:v>
                </c:pt>
                <c:pt idx="226">
                  <c:v>7-VIII.</c:v>
                </c:pt>
                <c:pt idx="227">
                  <c:v>8-VIII.</c:v>
                </c:pt>
                <c:pt idx="228">
                  <c:v>9-VIII.</c:v>
                </c:pt>
                <c:pt idx="229">
                  <c:v>10-VIII.</c:v>
                </c:pt>
                <c:pt idx="230">
                  <c:v>11-VIII.</c:v>
                </c:pt>
                <c:pt idx="231">
                  <c:v>12-VIII.</c:v>
                </c:pt>
                <c:pt idx="232">
                  <c:v>13-VIII.</c:v>
                </c:pt>
                <c:pt idx="233">
                  <c:v>14-VIII.</c:v>
                </c:pt>
                <c:pt idx="234">
                  <c:v>15-VIII.</c:v>
                </c:pt>
                <c:pt idx="235">
                  <c:v>16-VIII.</c:v>
                </c:pt>
                <c:pt idx="236">
                  <c:v>17-VIII.</c:v>
                </c:pt>
                <c:pt idx="237">
                  <c:v>18-VIII.</c:v>
                </c:pt>
                <c:pt idx="238">
                  <c:v>19-VIII.</c:v>
                </c:pt>
                <c:pt idx="239">
                  <c:v>20-VIII.</c:v>
                </c:pt>
                <c:pt idx="240">
                  <c:v>21-VIII.</c:v>
                </c:pt>
                <c:pt idx="241">
                  <c:v>22-VIII.</c:v>
                </c:pt>
                <c:pt idx="242">
                  <c:v>23-VIII.</c:v>
                </c:pt>
                <c:pt idx="243">
                  <c:v>24-VIII.</c:v>
                </c:pt>
                <c:pt idx="244">
                  <c:v>25-VIII.</c:v>
                </c:pt>
                <c:pt idx="245">
                  <c:v>26-VIII.</c:v>
                </c:pt>
                <c:pt idx="246">
                  <c:v>27-VIII.</c:v>
                </c:pt>
                <c:pt idx="247">
                  <c:v>28-VIII.</c:v>
                </c:pt>
                <c:pt idx="248">
                  <c:v>29-VIII.</c:v>
                </c:pt>
                <c:pt idx="249">
                  <c:v>30-VIII.</c:v>
                </c:pt>
                <c:pt idx="250">
                  <c:v>31-VIII.</c:v>
                </c:pt>
                <c:pt idx="251">
                  <c:v>1-IX.</c:v>
                </c:pt>
                <c:pt idx="252">
                  <c:v>2-IX.</c:v>
                </c:pt>
                <c:pt idx="253">
                  <c:v>3-IX.</c:v>
                </c:pt>
                <c:pt idx="254">
                  <c:v>4-IX.</c:v>
                </c:pt>
                <c:pt idx="255">
                  <c:v>5-IX.</c:v>
                </c:pt>
                <c:pt idx="256">
                  <c:v>6-IX.</c:v>
                </c:pt>
                <c:pt idx="257">
                  <c:v>7-IX.</c:v>
                </c:pt>
                <c:pt idx="258">
                  <c:v>8-IX.</c:v>
                </c:pt>
                <c:pt idx="259">
                  <c:v>9-IX.</c:v>
                </c:pt>
                <c:pt idx="260">
                  <c:v>10-IX.</c:v>
                </c:pt>
                <c:pt idx="261">
                  <c:v>11-IX.</c:v>
                </c:pt>
                <c:pt idx="262">
                  <c:v>12-IX.</c:v>
                </c:pt>
                <c:pt idx="263">
                  <c:v>13-IX.</c:v>
                </c:pt>
                <c:pt idx="264">
                  <c:v>14-IX.</c:v>
                </c:pt>
                <c:pt idx="265">
                  <c:v>15-IX.</c:v>
                </c:pt>
                <c:pt idx="266">
                  <c:v>16-IX.</c:v>
                </c:pt>
                <c:pt idx="267">
                  <c:v>17-IX.</c:v>
                </c:pt>
                <c:pt idx="268">
                  <c:v>18-IX.</c:v>
                </c:pt>
                <c:pt idx="269">
                  <c:v>19-IX.</c:v>
                </c:pt>
                <c:pt idx="270">
                  <c:v>20-IX.</c:v>
                </c:pt>
                <c:pt idx="271">
                  <c:v>21-IX.</c:v>
                </c:pt>
                <c:pt idx="272">
                  <c:v>22-IX.</c:v>
                </c:pt>
                <c:pt idx="273">
                  <c:v>23-IX.</c:v>
                </c:pt>
                <c:pt idx="274">
                  <c:v>24-IX.</c:v>
                </c:pt>
                <c:pt idx="275">
                  <c:v>25-IX.</c:v>
                </c:pt>
                <c:pt idx="276">
                  <c:v>26-IX.</c:v>
                </c:pt>
                <c:pt idx="277">
                  <c:v>27-IX.</c:v>
                </c:pt>
                <c:pt idx="278">
                  <c:v>28-IX.</c:v>
                </c:pt>
                <c:pt idx="279">
                  <c:v>29-IX.</c:v>
                </c:pt>
                <c:pt idx="280">
                  <c:v>30-IX.</c:v>
                </c:pt>
                <c:pt idx="281">
                  <c:v>1-X.</c:v>
                </c:pt>
                <c:pt idx="282">
                  <c:v>2-X.</c:v>
                </c:pt>
                <c:pt idx="283">
                  <c:v>3-X.</c:v>
                </c:pt>
                <c:pt idx="284">
                  <c:v>4-X.</c:v>
                </c:pt>
                <c:pt idx="285">
                  <c:v>5-X.</c:v>
                </c:pt>
                <c:pt idx="286">
                  <c:v>6-X.</c:v>
                </c:pt>
                <c:pt idx="287">
                  <c:v>7-X.</c:v>
                </c:pt>
                <c:pt idx="288">
                  <c:v>8-X.</c:v>
                </c:pt>
                <c:pt idx="289">
                  <c:v>9-X.</c:v>
                </c:pt>
                <c:pt idx="290">
                  <c:v>10-X.</c:v>
                </c:pt>
                <c:pt idx="291">
                  <c:v>11-X.</c:v>
                </c:pt>
                <c:pt idx="292">
                  <c:v>12-X.</c:v>
                </c:pt>
                <c:pt idx="293">
                  <c:v>13-X.</c:v>
                </c:pt>
                <c:pt idx="294">
                  <c:v>14-X.</c:v>
                </c:pt>
                <c:pt idx="295">
                  <c:v>15-X.</c:v>
                </c:pt>
                <c:pt idx="296">
                  <c:v>16-X.</c:v>
                </c:pt>
                <c:pt idx="297">
                  <c:v>17-X.</c:v>
                </c:pt>
                <c:pt idx="298">
                  <c:v>18-X.</c:v>
                </c:pt>
                <c:pt idx="299">
                  <c:v>19-X.</c:v>
                </c:pt>
                <c:pt idx="300">
                  <c:v>20-X.</c:v>
                </c:pt>
                <c:pt idx="301">
                  <c:v>21-X.</c:v>
                </c:pt>
              </c:strCache>
            </c:strRef>
          </c:cat>
          <c:val>
            <c:numRef>
              <c:f>List1!$F$2:$KU$2</c:f>
              <c:numCache>
                <c:formatCode>General</c:formatCode>
                <c:ptCount val="302"/>
                <c:pt idx="3">
                  <c:v>1051</c:v>
                </c:pt>
                <c:pt idx="4">
                  <c:v>2958</c:v>
                </c:pt>
                <c:pt idx="5">
                  <c:v>5630</c:v>
                </c:pt>
                <c:pt idx="6">
                  <c:v>8337</c:v>
                </c:pt>
                <c:pt idx="7">
                  <c:v>9227</c:v>
                </c:pt>
                <c:pt idx="8">
                  <c:v>9462</c:v>
                </c:pt>
                <c:pt idx="9">
                  <c:v>10632</c:v>
                </c:pt>
                <c:pt idx="10">
                  <c:v>11477</c:v>
                </c:pt>
                <c:pt idx="11">
                  <c:v>14651</c:v>
                </c:pt>
                <c:pt idx="12">
                  <c:v>18573</c:v>
                </c:pt>
                <c:pt idx="13">
                  <c:v>23503</c:v>
                </c:pt>
                <c:pt idx="14">
                  <c:v>29340</c:v>
                </c:pt>
                <c:pt idx="15">
                  <c:v>36143</c:v>
                </c:pt>
                <c:pt idx="16">
                  <c:v>37306</c:v>
                </c:pt>
                <c:pt idx="17">
                  <c:v>38259</c:v>
                </c:pt>
                <c:pt idx="18">
                  <c:v>44677</c:v>
                </c:pt>
                <c:pt idx="19">
                  <c:v>52113</c:v>
                </c:pt>
                <c:pt idx="20">
                  <c:v>58715</c:v>
                </c:pt>
                <c:pt idx="21">
                  <c:v>65695</c:v>
                </c:pt>
                <c:pt idx="22">
                  <c:v>71898</c:v>
                </c:pt>
                <c:pt idx="23">
                  <c:v>72833</c:v>
                </c:pt>
                <c:pt idx="24">
                  <c:v>73383</c:v>
                </c:pt>
                <c:pt idx="25">
                  <c:v>78075</c:v>
                </c:pt>
                <c:pt idx="26">
                  <c:v>81887</c:v>
                </c:pt>
                <c:pt idx="27">
                  <c:v>85598</c:v>
                </c:pt>
                <c:pt idx="28">
                  <c:v>88996</c:v>
                </c:pt>
                <c:pt idx="29">
                  <c:v>91882</c:v>
                </c:pt>
                <c:pt idx="30">
                  <c:v>92273</c:v>
                </c:pt>
                <c:pt idx="31">
                  <c:v>92508</c:v>
                </c:pt>
                <c:pt idx="32">
                  <c:v>94112</c:v>
                </c:pt>
                <c:pt idx="33">
                  <c:v>95881</c:v>
                </c:pt>
                <c:pt idx="34">
                  <c:v>97331</c:v>
                </c:pt>
                <c:pt idx="35">
                  <c:v>98713</c:v>
                </c:pt>
                <c:pt idx="36">
                  <c:v>99991</c:v>
                </c:pt>
                <c:pt idx="37">
                  <c:v>100063</c:v>
                </c:pt>
                <c:pt idx="38">
                  <c:v>100134</c:v>
                </c:pt>
                <c:pt idx="39">
                  <c:v>101027</c:v>
                </c:pt>
                <c:pt idx="40">
                  <c:v>101892</c:v>
                </c:pt>
                <c:pt idx="41">
                  <c:v>102709</c:v>
                </c:pt>
                <c:pt idx="42">
                  <c:v>103419</c:v>
                </c:pt>
                <c:pt idx="43">
                  <c:v>104346</c:v>
                </c:pt>
                <c:pt idx="44">
                  <c:v>104397</c:v>
                </c:pt>
                <c:pt idx="45">
                  <c:v>104447</c:v>
                </c:pt>
                <c:pt idx="46">
                  <c:v>105089</c:v>
                </c:pt>
                <c:pt idx="47">
                  <c:v>105745</c:v>
                </c:pt>
                <c:pt idx="48">
                  <c:v>106610</c:v>
                </c:pt>
                <c:pt idx="49">
                  <c:v>107664</c:v>
                </c:pt>
                <c:pt idx="50">
                  <c:v>108864</c:v>
                </c:pt>
                <c:pt idx="51">
                  <c:v>109244</c:v>
                </c:pt>
                <c:pt idx="52">
                  <c:v>109429</c:v>
                </c:pt>
                <c:pt idx="53">
                  <c:v>110752</c:v>
                </c:pt>
                <c:pt idx="54">
                  <c:v>112048</c:v>
                </c:pt>
                <c:pt idx="55">
                  <c:v>113424</c:v>
                </c:pt>
                <c:pt idx="56">
                  <c:v>114992</c:v>
                </c:pt>
                <c:pt idx="57">
                  <c:v>116845</c:v>
                </c:pt>
                <c:pt idx="58">
                  <c:v>117303</c:v>
                </c:pt>
                <c:pt idx="59">
                  <c:v>117464</c:v>
                </c:pt>
                <c:pt idx="60">
                  <c:v>119056</c:v>
                </c:pt>
                <c:pt idx="61">
                  <c:v>121350</c:v>
                </c:pt>
                <c:pt idx="62">
                  <c:v>123851</c:v>
                </c:pt>
                <c:pt idx="63">
                  <c:v>126882</c:v>
                </c:pt>
                <c:pt idx="64">
                  <c:v>129491</c:v>
                </c:pt>
                <c:pt idx="65">
                  <c:v>129801</c:v>
                </c:pt>
                <c:pt idx="66">
                  <c:v>130019</c:v>
                </c:pt>
                <c:pt idx="67">
                  <c:v>132571</c:v>
                </c:pt>
                <c:pt idx="68">
                  <c:v>135332</c:v>
                </c:pt>
                <c:pt idx="69">
                  <c:v>137994</c:v>
                </c:pt>
                <c:pt idx="70">
                  <c:v>140447</c:v>
                </c:pt>
                <c:pt idx="71">
                  <c:v>143415</c:v>
                </c:pt>
                <c:pt idx="72">
                  <c:v>144118</c:v>
                </c:pt>
                <c:pt idx="73">
                  <c:v>144627</c:v>
                </c:pt>
                <c:pt idx="74">
                  <c:v>146577</c:v>
                </c:pt>
                <c:pt idx="75">
                  <c:v>148711</c:v>
                </c:pt>
                <c:pt idx="76">
                  <c:v>150954</c:v>
                </c:pt>
                <c:pt idx="77">
                  <c:v>153957</c:v>
                </c:pt>
                <c:pt idx="78">
                  <c:v>156568</c:v>
                </c:pt>
                <c:pt idx="79">
                  <c:v>157226</c:v>
                </c:pt>
                <c:pt idx="80">
                  <c:v>157793</c:v>
                </c:pt>
                <c:pt idx="81">
                  <c:v>159374</c:v>
                </c:pt>
                <c:pt idx="82">
                  <c:v>161705</c:v>
                </c:pt>
                <c:pt idx="83">
                  <c:v>164022</c:v>
                </c:pt>
                <c:pt idx="84">
                  <c:v>166049</c:v>
                </c:pt>
                <c:pt idx="85">
                  <c:v>168307</c:v>
                </c:pt>
                <c:pt idx="86">
                  <c:v>169183</c:v>
                </c:pt>
                <c:pt idx="87">
                  <c:v>169631</c:v>
                </c:pt>
                <c:pt idx="88">
                  <c:v>170786</c:v>
                </c:pt>
                <c:pt idx="89">
                  <c:v>172025</c:v>
                </c:pt>
                <c:pt idx="90">
                  <c:v>173091</c:v>
                </c:pt>
                <c:pt idx="91">
                  <c:v>174389</c:v>
                </c:pt>
                <c:pt idx="92">
                  <c:v>175764</c:v>
                </c:pt>
                <c:pt idx="93">
                  <c:v>176138</c:v>
                </c:pt>
                <c:pt idx="94">
                  <c:v>176480</c:v>
                </c:pt>
                <c:pt idx="95">
                  <c:v>177264</c:v>
                </c:pt>
                <c:pt idx="96">
                  <c:v>178293</c:v>
                </c:pt>
                <c:pt idx="97">
                  <c:v>179420</c:v>
                </c:pt>
                <c:pt idx="98">
                  <c:v>180521</c:v>
                </c:pt>
                <c:pt idx="99">
                  <c:v>180792</c:v>
                </c:pt>
                <c:pt idx="100">
                  <c:v>180913</c:v>
                </c:pt>
                <c:pt idx="101">
                  <c:v>181029</c:v>
                </c:pt>
                <c:pt idx="102">
                  <c:v>181100</c:v>
                </c:pt>
                <c:pt idx="103">
                  <c:v>181677</c:v>
                </c:pt>
                <c:pt idx="104">
                  <c:v>182349</c:v>
                </c:pt>
                <c:pt idx="105">
                  <c:v>183591</c:v>
                </c:pt>
                <c:pt idx="106">
                  <c:v>184863</c:v>
                </c:pt>
                <c:pt idx="107">
                  <c:v>185239</c:v>
                </c:pt>
                <c:pt idx="108">
                  <c:v>185487</c:v>
                </c:pt>
                <c:pt idx="109">
                  <c:v>186423</c:v>
                </c:pt>
                <c:pt idx="110">
                  <c:v>187233</c:v>
                </c:pt>
                <c:pt idx="111">
                  <c:v>188175</c:v>
                </c:pt>
                <c:pt idx="112">
                  <c:v>189540</c:v>
                </c:pt>
                <c:pt idx="113">
                  <c:v>191086</c:v>
                </c:pt>
                <c:pt idx="114">
                  <c:v>191505</c:v>
                </c:pt>
                <c:pt idx="115">
                  <c:v>191946</c:v>
                </c:pt>
                <c:pt idx="116">
                  <c:v>193042</c:v>
                </c:pt>
                <c:pt idx="117">
                  <c:v>194089</c:v>
                </c:pt>
                <c:pt idx="118">
                  <c:v>195382</c:v>
                </c:pt>
                <c:pt idx="119">
                  <c:v>196853</c:v>
                </c:pt>
                <c:pt idx="120">
                  <c:v>198366</c:v>
                </c:pt>
                <c:pt idx="121">
                  <c:v>198802</c:v>
                </c:pt>
                <c:pt idx="122">
                  <c:v>199176</c:v>
                </c:pt>
                <c:pt idx="123">
                  <c:v>200382</c:v>
                </c:pt>
                <c:pt idx="124">
                  <c:v>201476</c:v>
                </c:pt>
                <c:pt idx="125">
                  <c:v>202859</c:v>
                </c:pt>
                <c:pt idx="126">
                  <c:v>204332</c:v>
                </c:pt>
                <c:pt idx="127">
                  <c:v>205733</c:v>
                </c:pt>
                <c:pt idx="128">
                  <c:v>206070</c:v>
                </c:pt>
                <c:pt idx="129">
                  <c:v>206409</c:v>
                </c:pt>
                <c:pt idx="130">
                  <c:v>207492</c:v>
                </c:pt>
                <c:pt idx="131">
                  <c:v>208593</c:v>
                </c:pt>
                <c:pt idx="132">
                  <c:v>209734</c:v>
                </c:pt>
                <c:pt idx="133">
                  <c:v>210926</c:v>
                </c:pt>
                <c:pt idx="134">
                  <c:v>212226</c:v>
                </c:pt>
                <c:pt idx="135">
                  <c:v>212724</c:v>
                </c:pt>
                <c:pt idx="136">
                  <c:v>213034</c:v>
                </c:pt>
                <c:pt idx="137">
                  <c:v>214005</c:v>
                </c:pt>
                <c:pt idx="138">
                  <c:v>215025</c:v>
                </c:pt>
                <c:pt idx="139">
                  <c:v>216063</c:v>
                </c:pt>
                <c:pt idx="140">
                  <c:v>217196</c:v>
                </c:pt>
                <c:pt idx="141">
                  <c:v>218189</c:v>
                </c:pt>
                <c:pt idx="142">
                  <c:v>218628</c:v>
                </c:pt>
                <c:pt idx="143">
                  <c:v>218913</c:v>
                </c:pt>
                <c:pt idx="144">
                  <c:v>219696</c:v>
                </c:pt>
                <c:pt idx="145">
                  <c:v>220572</c:v>
                </c:pt>
                <c:pt idx="146">
                  <c:v>221472</c:v>
                </c:pt>
                <c:pt idx="147">
                  <c:v>222401</c:v>
                </c:pt>
                <c:pt idx="148">
                  <c:v>223322</c:v>
                </c:pt>
                <c:pt idx="149">
                  <c:v>223673</c:v>
                </c:pt>
                <c:pt idx="150">
                  <c:v>223901</c:v>
                </c:pt>
                <c:pt idx="151">
                  <c:v>224451</c:v>
                </c:pt>
                <c:pt idx="152">
                  <c:v>225076</c:v>
                </c:pt>
                <c:pt idx="153">
                  <c:v>225926</c:v>
                </c:pt>
                <c:pt idx="154">
                  <c:v>226705</c:v>
                </c:pt>
                <c:pt idx="155">
                  <c:v>227525</c:v>
                </c:pt>
                <c:pt idx="156">
                  <c:v>227886</c:v>
                </c:pt>
                <c:pt idx="157">
                  <c:v>228175</c:v>
                </c:pt>
                <c:pt idx="158">
                  <c:v>228863</c:v>
                </c:pt>
                <c:pt idx="159">
                  <c:v>229586</c:v>
                </c:pt>
                <c:pt idx="160">
                  <c:v>230473</c:v>
                </c:pt>
                <c:pt idx="161">
                  <c:v>231310</c:v>
                </c:pt>
                <c:pt idx="162">
                  <c:v>232189</c:v>
                </c:pt>
                <c:pt idx="163">
                  <c:v>232607</c:v>
                </c:pt>
                <c:pt idx="164">
                  <c:v>233006</c:v>
                </c:pt>
                <c:pt idx="165">
                  <c:v>233893</c:v>
                </c:pt>
                <c:pt idx="166">
                  <c:v>234868</c:v>
                </c:pt>
                <c:pt idx="167">
                  <c:v>235782</c:v>
                </c:pt>
                <c:pt idx="168">
                  <c:v>236655</c:v>
                </c:pt>
                <c:pt idx="169">
                  <c:v>237505</c:v>
                </c:pt>
                <c:pt idx="170">
                  <c:v>238024</c:v>
                </c:pt>
                <c:pt idx="171">
                  <c:v>238392</c:v>
                </c:pt>
                <c:pt idx="172">
                  <c:v>239061</c:v>
                </c:pt>
                <c:pt idx="173">
                  <c:v>239806</c:v>
                </c:pt>
                <c:pt idx="174">
                  <c:v>240510</c:v>
                </c:pt>
                <c:pt idx="175">
                  <c:v>241216</c:v>
                </c:pt>
                <c:pt idx="176">
                  <c:v>241883</c:v>
                </c:pt>
                <c:pt idx="177">
                  <c:v>242214</c:v>
                </c:pt>
                <c:pt idx="178">
                  <c:v>242470</c:v>
                </c:pt>
                <c:pt idx="179">
                  <c:v>242978</c:v>
                </c:pt>
                <c:pt idx="180">
                  <c:v>243562</c:v>
                </c:pt>
                <c:pt idx="181">
                  <c:v>244053</c:v>
                </c:pt>
                <c:pt idx="182">
                  <c:v>244550</c:v>
                </c:pt>
                <c:pt idx="183">
                  <c:v>245045</c:v>
                </c:pt>
                <c:pt idx="184">
                  <c:v>245299</c:v>
                </c:pt>
                <c:pt idx="185">
                  <c:v>245484</c:v>
                </c:pt>
                <c:pt idx="186">
                  <c:v>245976</c:v>
                </c:pt>
                <c:pt idx="187">
                  <c:v>246430</c:v>
                </c:pt>
                <c:pt idx="188">
                  <c:v>246904</c:v>
                </c:pt>
                <c:pt idx="189">
                  <c:v>247265</c:v>
                </c:pt>
                <c:pt idx="190">
                  <c:v>247746</c:v>
                </c:pt>
                <c:pt idx="191">
                  <c:v>247844</c:v>
                </c:pt>
                <c:pt idx="192">
                  <c:v>247959</c:v>
                </c:pt>
                <c:pt idx="193">
                  <c:v>248069</c:v>
                </c:pt>
                <c:pt idx="194">
                  <c:v>248167</c:v>
                </c:pt>
                <c:pt idx="195">
                  <c:v>248577</c:v>
                </c:pt>
                <c:pt idx="196">
                  <c:v>249022</c:v>
                </c:pt>
                <c:pt idx="197">
                  <c:v>249462</c:v>
                </c:pt>
                <c:pt idx="198">
                  <c:v>249627</c:v>
                </c:pt>
                <c:pt idx="199">
                  <c:v>249748</c:v>
                </c:pt>
                <c:pt idx="200">
                  <c:v>250192</c:v>
                </c:pt>
                <c:pt idx="201">
                  <c:v>250639</c:v>
                </c:pt>
                <c:pt idx="202">
                  <c:v>251122</c:v>
                </c:pt>
                <c:pt idx="203">
                  <c:v>251613</c:v>
                </c:pt>
                <c:pt idx="204">
                  <c:v>252097</c:v>
                </c:pt>
                <c:pt idx="205">
                  <c:v>252277</c:v>
                </c:pt>
                <c:pt idx="206">
                  <c:v>252423</c:v>
                </c:pt>
                <c:pt idx="207">
                  <c:v>252844</c:v>
                </c:pt>
                <c:pt idx="208">
                  <c:v>253198</c:v>
                </c:pt>
                <c:pt idx="209">
                  <c:v>253663</c:v>
                </c:pt>
                <c:pt idx="210">
                  <c:v>254057</c:v>
                </c:pt>
                <c:pt idx="211">
                  <c:v>254446</c:v>
                </c:pt>
                <c:pt idx="212">
                  <c:v>254558</c:v>
                </c:pt>
                <c:pt idx="213">
                  <c:v>254646</c:v>
                </c:pt>
                <c:pt idx="214">
                  <c:v>255033</c:v>
                </c:pt>
                <c:pt idx="215">
                  <c:v>255454</c:v>
                </c:pt>
                <c:pt idx="216">
                  <c:v>255812</c:v>
                </c:pt>
                <c:pt idx="217">
                  <c:v>256147</c:v>
                </c:pt>
                <c:pt idx="218">
                  <c:v>256563</c:v>
                </c:pt>
                <c:pt idx="219">
                  <c:v>256686</c:v>
                </c:pt>
                <c:pt idx="220">
                  <c:v>256787</c:v>
                </c:pt>
                <c:pt idx="221">
                  <c:v>257068</c:v>
                </c:pt>
                <c:pt idx="222">
                  <c:v>257332</c:v>
                </c:pt>
                <c:pt idx="223">
                  <c:v>257645</c:v>
                </c:pt>
                <c:pt idx="224">
                  <c:v>257908</c:v>
                </c:pt>
                <c:pt idx="225">
                  <c:v>258188</c:v>
                </c:pt>
                <c:pt idx="226">
                  <c:v>258260</c:v>
                </c:pt>
                <c:pt idx="227">
                  <c:v>258324</c:v>
                </c:pt>
                <c:pt idx="228">
                  <c:v>258532</c:v>
                </c:pt>
                <c:pt idx="229">
                  <c:v>258740</c:v>
                </c:pt>
                <c:pt idx="230">
                  <c:v>258903</c:v>
                </c:pt>
                <c:pt idx="231">
                  <c:v>259135</c:v>
                </c:pt>
                <c:pt idx="232">
                  <c:v>259325</c:v>
                </c:pt>
                <c:pt idx="233">
                  <c:v>259381</c:v>
                </c:pt>
                <c:pt idx="234">
                  <c:v>259427</c:v>
                </c:pt>
                <c:pt idx="235">
                  <c:v>259610</c:v>
                </c:pt>
                <c:pt idx="236">
                  <c:v>259792</c:v>
                </c:pt>
                <c:pt idx="237">
                  <c:v>259954</c:v>
                </c:pt>
                <c:pt idx="238">
                  <c:v>260116</c:v>
                </c:pt>
                <c:pt idx="239">
                  <c:v>260360</c:v>
                </c:pt>
                <c:pt idx="240">
                  <c:v>260402</c:v>
                </c:pt>
                <c:pt idx="241">
                  <c:v>260433</c:v>
                </c:pt>
                <c:pt idx="242">
                  <c:v>260631</c:v>
                </c:pt>
                <c:pt idx="243">
                  <c:v>260823</c:v>
                </c:pt>
                <c:pt idx="244">
                  <c:v>260987</c:v>
                </c:pt>
                <c:pt idx="245">
                  <c:v>261146</c:v>
                </c:pt>
                <c:pt idx="246">
                  <c:v>261362</c:v>
                </c:pt>
                <c:pt idx="247">
                  <c:v>261404</c:v>
                </c:pt>
                <c:pt idx="248">
                  <c:v>261437</c:v>
                </c:pt>
                <c:pt idx="249">
                  <c:v>261607</c:v>
                </c:pt>
                <c:pt idx="250">
                  <c:v>261770</c:v>
                </c:pt>
                <c:pt idx="251">
                  <c:v>261891</c:v>
                </c:pt>
                <c:pt idx="252">
                  <c:v>262064</c:v>
                </c:pt>
                <c:pt idx="253">
                  <c:v>262260</c:v>
                </c:pt>
                <c:pt idx="254">
                  <c:v>262295</c:v>
                </c:pt>
                <c:pt idx="255">
                  <c:v>262328</c:v>
                </c:pt>
                <c:pt idx="256">
                  <c:v>262463</c:v>
                </c:pt>
                <c:pt idx="257">
                  <c:v>262550</c:v>
                </c:pt>
                <c:pt idx="258">
                  <c:v>262672</c:v>
                </c:pt>
                <c:pt idx="259">
                  <c:v>262814</c:v>
                </c:pt>
                <c:pt idx="260">
                  <c:v>262958</c:v>
                </c:pt>
                <c:pt idx="261">
                  <c:v>262992</c:v>
                </c:pt>
                <c:pt idx="262">
                  <c:v>263015</c:v>
                </c:pt>
                <c:pt idx="263">
                  <c:v>263126</c:v>
                </c:pt>
                <c:pt idx="264">
                  <c:v>263258</c:v>
                </c:pt>
                <c:pt idx="265">
                  <c:v>263364</c:v>
                </c:pt>
                <c:pt idx="266">
                  <c:v>263484</c:v>
                </c:pt>
                <c:pt idx="267">
                  <c:v>263648</c:v>
                </c:pt>
                <c:pt idx="268">
                  <c:v>263689</c:v>
                </c:pt>
                <c:pt idx="269">
                  <c:v>263700</c:v>
                </c:pt>
                <c:pt idx="270">
                  <c:v>263800</c:v>
                </c:pt>
                <c:pt idx="271">
                  <c:v>263900</c:v>
                </c:pt>
                <c:pt idx="272">
                  <c:v>263990</c:v>
                </c:pt>
                <c:pt idx="273">
                  <c:v>264120</c:v>
                </c:pt>
                <c:pt idx="274">
                  <c:v>264287</c:v>
                </c:pt>
                <c:pt idx="275">
                  <c:v>264318</c:v>
                </c:pt>
                <c:pt idx="276">
                  <c:v>264328</c:v>
                </c:pt>
                <c:pt idx="277">
                  <c:v>264423</c:v>
                </c:pt>
                <c:pt idx="278">
                  <c:v>264429</c:v>
                </c:pt>
                <c:pt idx="279">
                  <c:v>264510</c:v>
                </c:pt>
                <c:pt idx="280">
                  <c:v>264604</c:v>
                </c:pt>
                <c:pt idx="281">
                  <c:v>264688</c:v>
                </c:pt>
                <c:pt idx="282">
                  <c:v>264709</c:v>
                </c:pt>
                <c:pt idx="283">
                  <c:v>264723</c:v>
                </c:pt>
                <c:pt idx="284">
                  <c:v>264788</c:v>
                </c:pt>
                <c:pt idx="285">
                  <c:v>264862</c:v>
                </c:pt>
                <c:pt idx="286">
                  <c:v>264957</c:v>
                </c:pt>
                <c:pt idx="287">
                  <c:v>265023</c:v>
                </c:pt>
                <c:pt idx="288">
                  <c:v>265133</c:v>
                </c:pt>
                <c:pt idx="289">
                  <c:v>265158</c:v>
                </c:pt>
                <c:pt idx="290">
                  <c:v>265169</c:v>
                </c:pt>
                <c:pt idx="291">
                  <c:v>265239</c:v>
                </c:pt>
                <c:pt idx="292">
                  <c:v>265313</c:v>
                </c:pt>
                <c:pt idx="293">
                  <c:v>265384</c:v>
                </c:pt>
                <c:pt idx="294">
                  <c:v>265445</c:v>
                </c:pt>
                <c:pt idx="295">
                  <c:v>265556</c:v>
                </c:pt>
                <c:pt idx="296">
                  <c:v>265586</c:v>
                </c:pt>
                <c:pt idx="297">
                  <c:v>265616</c:v>
                </c:pt>
                <c:pt idx="298">
                  <c:v>265739</c:v>
                </c:pt>
                <c:pt idx="299">
                  <c:v>265823</c:v>
                </c:pt>
                <c:pt idx="300">
                  <c:v>265946</c:v>
                </c:pt>
                <c:pt idx="301">
                  <c:v>26615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9B2-46E3-85FE-A83BCF6CC085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Sestry</c:v>
                </c:pt>
              </c:strCache>
            </c:strRef>
          </c:tx>
          <c:spPr>
            <a:ln w="28575" cap="rnd">
              <a:solidFill>
                <a:srgbClr val="ED7D31"/>
              </a:solidFill>
              <a:round/>
            </a:ln>
            <a:effectLst/>
          </c:spPr>
          <c:marker>
            <c:symbol val="none"/>
          </c:marker>
          <c:cat>
            <c:strRef>
              <c:f>List1!$F$1:$KU$1</c:f>
              <c:strCache>
                <c:ptCount val="302"/>
                <c:pt idx="0">
                  <c:v>24-XII.</c:v>
                </c:pt>
                <c:pt idx="1">
                  <c:v>25-XII.</c:v>
                </c:pt>
                <c:pt idx="2">
                  <c:v>26-XII.</c:v>
                </c:pt>
                <c:pt idx="3">
                  <c:v>27-XII.</c:v>
                </c:pt>
                <c:pt idx="4">
                  <c:v>28-XII.</c:v>
                </c:pt>
                <c:pt idx="5">
                  <c:v>29-XII.</c:v>
                </c:pt>
                <c:pt idx="6">
                  <c:v>30-XII.</c:v>
                </c:pt>
                <c:pt idx="7">
                  <c:v>31-XII.</c:v>
                </c:pt>
                <c:pt idx="8">
                  <c:v>1-I.</c:v>
                </c:pt>
                <c:pt idx="9">
                  <c:v>2-I.</c:v>
                </c:pt>
                <c:pt idx="10">
                  <c:v>3-I.</c:v>
                </c:pt>
                <c:pt idx="11">
                  <c:v>4-I.</c:v>
                </c:pt>
                <c:pt idx="12">
                  <c:v>5-I.</c:v>
                </c:pt>
                <c:pt idx="13">
                  <c:v>6-I.</c:v>
                </c:pt>
                <c:pt idx="14">
                  <c:v>7-I.</c:v>
                </c:pt>
                <c:pt idx="15">
                  <c:v>8-I.</c:v>
                </c:pt>
                <c:pt idx="16">
                  <c:v>9-I.</c:v>
                </c:pt>
                <c:pt idx="17">
                  <c:v>10-I.</c:v>
                </c:pt>
                <c:pt idx="18">
                  <c:v>11-I.</c:v>
                </c:pt>
                <c:pt idx="19">
                  <c:v>12-I.</c:v>
                </c:pt>
                <c:pt idx="20">
                  <c:v>13-I.</c:v>
                </c:pt>
                <c:pt idx="21">
                  <c:v>14-I.</c:v>
                </c:pt>
                <c:pt idx="22">
                  <c:v>15-I.</c:v>
                </c:pt>
                <c:pt idx="23">
                  <c:v>16-I.</c:v>
                </c:pt>
                <c:pt idx="24">
                  <c:v>17-I.</c:v>
                </c:pt>
                <c:pt idx="25">
                  <c:v>18-I.</c:v>
                </c:pt>
                <c:pt idx="26">
                  <c:v>19-I.</c:v>
                </c:pt>
                <c:pt idx="27">
                  <c:v>20-I.</c:v>
                </c:pt>
                <c:pt idx="28">
                  <c:v>21-I.</c:v>
                </c:pt>
                <c:pt idx="29">
                  <c:v>22-I.</c:v>
                </c:pt>
                <c:pt idx="30">
                  <c:v>23-I.</c:v>
                </c:pt>
                <c:pt idx="31">
                  <c:v>24-I.</c:v>
                </c:pt>
                <c:pt idx="32">
                  <c:v>25-I.</c:v>
                </c:pt>
                <c:pt idx="33">
                  <c:v>26-I.</c:v>
                </c:pt>
                <c:pt idx="34">
                  <c:v>27-I.</c:v>
                </c:pt>
                <c:pt idx="35">
                  <c:v>28-I.</c:v>
                </c:pt>
                <c:pt idx="36">
                  <c:v>29-I.</c:v>
                </c:pt>
                <c:pt idx="37">
                  <c:v>30-I.</c:v>
                </c:pt>
                <c:pt idx="38">
                  <c:v>31-I.</c:v>
                </c:pt>
                <c:pt idx="39">
                  <c:v>1-II.</c:v>
                </c:pt>
                <c:pt idx="40">
                  <c:v>2-II.</c:v>
                </c:pt>
                <c:pt idx="41">
                  <c:v>3-II.</c:v>
                </c:pt>
                <c:pt idx="42">
                  <c:v>4-II.</c:v>
                </c:pt>
                <c:pt idx="43">
                  <c:v>5-II.</c:v>
                </c:pt>
                <c:pt idx="44">
                  <c:v>6-II.</c:v>
                </c:pt>
                <c:pt idx="45">
                  <c:v>7-II.</c:v>
                </c:pt>
                <c:pt idx="46">
                  <c:v>8-II.</c:v>
                </c:pt>
                <c:pt idx="47">
                  <c:v>9-II.</c:v>
                </c:pt>
                <c:pt idx="48">
                  <c:v>10-II.</c:v>
                </c:pt>
                <c:pt idx="49">
                  <c:v>11-II.</c:v>
                </c:pt>
                <c:pt idx="50">
                  <c:v>12-II.</c:v>
                </c:pt>
                <c:pt idx="51">
                  <c:v>13-II.</c:v>
                </c:pt>
                <c:pt idx="52">
                  <c:v>14-II.</c:v>
                </c:pt>
                <c:pt idx="53">
                  <c:v>15-II.</c:v>
                </c:pt>
                <c:pt idx="54">
                  <c:v>16-II.</c:v>
                </c:pt>
                <c:pt idx="55">
                  <c:v>17-II.</c:v>
                </c:pt>
                <c:pt idx="56">
                  <c:v>18-II.</c:v>
                </c:pt>
                <c:pt idx="57">
                  <c:v>19-II.</c:v>
                </c:pt>
                <c:pt idx="58">
                  <c:v>20-II.</c:v>
                </c:pt>
                <c:pt idx="59">
                  <c:v>21-II.</c:v>
                </c:pt>
                <c:pt idx="60">
                  <c:v>22-II.</c:v>
                </c:pt>
                <c:pt idx="61">
                  <c:v>23-II.</c:v>
                </c:pt>
                <c:pt idx="62">
                  <c:v>24-II.</c:v>
                </c:pt>
                <c:pt idx="63">
                  <c:v>25-II.</c:v>
                </c:pt>
                <c:pt idx="64">
                  <c:v>26-II.</c:v>
                </c:pt>
                <c:pt idx="65">
                  <c:v>27-II.</c:v>
                </c:pt>
                <c:pt idx="66">
                  <c:v>28-II.</c:v>
                </c:pt>
                <c:pt idx="67">
                  <c:v>1-III.</c:v>
                </c:pt>
                <c:pt idx="68">
                  <c:v>2-III.</c:v>
                </c:pt>
                <c:pt idx="69">
                  <c:v>3-III.</c:v>
                </c:pt>
                <c:pt idx="70">
                  <c:v>4-III.</c:v>
                </c:pt>
                <c:pt idx="71">
                  <c:v>5-III.</c:v>
                </c:pt>
                <c:pt idx="72">
                  <c:v>6-III.</c:v>
                </c:pt>
                <c:pt idx="73">
                  <c:v>7-III.</c:v>
                </c:pt>
                <c:pt idx="74">
                  <c:v>8-III.</c:v>
                </c:pt>
                <c:pt idx="75">
                  <c:v>9-III.</c:v>
                </c:pt>
                <c:pt idx="76">
                  <c:v>10-III.</c:v>
                </c:pt>
                <c:pt idx="77">
                  <c:v>11-III.</c:v>
                </c:pt>
                <c:pt idx="78">
                  <c:v>12-III.</c:v>
                </c:pt>
                <c:pt idx="79">
                  <c:v>13-III.</c:v>
                </c:pt>
                <c:pt idx="80">
                  <c:v>14-III.</c:v>
                </c:pt>
                <c:pt idx="81">
                  <c:v>15-III.</c:v>
                </c:pt>
                <c:pt idx="82">
                  <c:v>16-III.</c:v>
                </c:pt>
                <c:pt idx="83">
                  <c:v>17-III.</c:v>
                </c:pt>
                <c:pt idx="84">
                  <c:v>18-III.</c:v>
                </c:pt>
                <c:pt idx="85">
                  <c:v>19-III.</c:v>
                </c:pt>
                <c:pt idx="86">
                  <c:v>20-III.</c:v>
                </c:pt>
                <c:pt idx="87">
                  <c:v>21-III.</c:v>
                </c:pt>
                <c:pt idx="88">
                  <c:v>22-III.</c:v>
                </c:pt>
                <c:pt idx="89">
                  <c:v>23-III.</c:v>
                </c:pt>
                <c:pt idx="90">
                  <c:v>24-III.</c:v>
                </c:pt>
                <c:pt idx="91">
                  <c:v>25-III.</c:v>
                </c:pt>
                <c:pt idx="92">
                  <c:v>26-III.</c:v>
                </c:pt>
                <c:pt idx="93">
                  <c:v>27-III.</c:v>
                </c:pt>
                <c:pt idx="94">
                  <c:v>28-III.</c:v>
                </c:pt>
                <c:pt idx="95">
                  <c:v>29-III.</c:v>
                </c:pt>
                <c:pt idx="96">
                  <c:v>30-III.</c:v>
                </c:pt>
                <c:pt idx="97">
                  <c:v>31-III.</c:v>
                </c:pt>
                <c:pt idx="98">
                  <c:v>1-IV.</c:v>
                </c:pt>
                <c:pt idx="99">
                  <c:v>2-IV.</c:v>
                </c:pt>
                <c:pt idx="100">
                  <c:v>3-IV.</c:v>
                </c:pt>
                <c:pt idx="101">
                  <c:v>4-IV.</c:v>
                </c:pt>
                <c:pt idx="102">
                  <c:v>5-IV.</c:v>
                </c:pt>
                <c:pt idx="103">
                  <c:v>6-IV.</c:v>
                </c:pt>
                <c:pt idx="104">
                  <c:v>7-IV.</c:v>
                </c:pt>
                <c:pt idx="105">
                  <c:v>8-IV.</c:v>
                </c:pt>
                <c:pt idx="106">
                  <c:v>9-IV.</c:v>
                </c:pt>
                <c:pt idx="107">
                  <c:v>10-IV.</c:v>
                </c:pt>
                <c:pt idx="108">
                  <c:v>11-IV.</c:v>
                </c:pt>
                <c:pt idx="109">
                  <c:v>12-IV.</c:v>
                </c:pt>
                <c:pt idx="110">
                  <c:v>13-IV.</c:v>
                </c:pt>
                <c:pt idx="111">
                  <c:v>14-IV.</c:v>
                </c:pt>
                <c:pt idx="112">
                  <c:v>15-IV.</c:v>
                </c:pt>
                <c:pt idx="113">
                  <c:v>16-IV.</c:v>
                </c:pt>
                <c:pt idx="114">
                  <c:v>17-IV.</c:v>
                </c:pt>
                <c:pt idx="115">
                  <c:v>18-IV.</c:v>
                </c:pt>
                <c:pt idx="116">
                  <c:v>19-IV.</c:v>
                </c:pt>
                <c:pt idx="117">
                  <c:v>20-IV.</c:v>
                </c:pt>
                <c:pt idx="118">
                  <c:v>21-IV.</c:v>
                </c:pt>
                <c:pt idx="119">
                  <c:v>22-IV.</c:v>
                </c:pt>
                <c:pt idx="120">
                  <c:v>23-IV.</c:v>
                </c:pt>
                <c:pt idx="121">
                  <c:v>24-IV.</c:v>
                </c:pt>
                <c:pt idx="122">
                  <c:v>25-IV.</c:v>
                </c:pt>
                <c:pt idx="123">
                  <c:v>26-IV.</c:v>
                </c:pt>
                <c:pt idx="124">
                  <c:v>27-IV.</c:v>
                </c:pt>
                <c:pt idx="125">
                  <c:v>28-IV.</c:v>
                </c:pt>
                <c:pt idx="126">
                  <c:v>29-IV.</c:v>
                </c:pt>
                <c:pt idx="127">
                  <c:v>30-IV.</c:v>
                </c:pt>
                <c:pt idx="128">
                  <c:v>1-V.</c:v>
                </c:pt>
                <c:pt idx="129">
                  <c:v>2-V.</c:v>
                </c:pt>
                <c:pt idx="130">
                  <c:v>3-V.</c:v>
                </c:pt>
                <c:pt idx="131">
                  <c:v>4-V.</c:v>
                </c:pt>
                <c:pt idx="132">
                  <c:v>5-V.</c:v>
                </c:pt>
                <c:pt idx="133">
                  <c:v>6-V.</c:v>
                </c:pt>
                <c:pt idx="134">
                  <c:v>7-V.</c:v>
                </c:pt>
                <c:pt idx="135">
                  <c:v>8-V.</c:v>
                </c:pt>
                <c:pt idx="136">
                  <c:v>9-V.</c:v>
                </c:pt>
                <c:pt idx="137">
                  <c:v>10-V.</c:v>
                </c:pt>
                <c:pt idx="138">
                  <c:v>11-V.</c:v>
                </c:pt>
                <c:pt idx="139">
                  <c:v>12-V.</c:v>
                </c:pt>
                <c:pt idx="140">
                  <c:v>13-V.</c:v>
                </c:pt>
                <c:pt idx="141">
                  <c:v>14-V.</c:v>
                </c:pt>
                <c:pt idx="142">
                  <c:v>15-V.</c:v>
                </c:pt>
                <c:pt idx="143">
                  <c:v>16-V.</c:v>
                </c:pt>
                <c:pt idx="144">
                  <c:v>17-V.</c:v>
                </c:pt>
                <c:pt idx="145">
                  <c:v>18-V.</c:v>
                </c:pt>
                <c:pt idx="146">
                  <c:v>19-V.</c:v>
                </c:pt>
                <c:pt idx="147">
                  <c:v>20-V.</c:v>
                </c:pt>
                <c:pt idx="148">
                  <c:v>21-V.</c:v>
                </c:pt>
                <c:pt idx="149">
                  <c:v>22-V.</c:v>
                </c:pt>
                <c:pt idx="150">
                  <c:v>23-V.</c:v>
                </c:pt>
                <c:pt idx="151">
                  <c:v>24-V.</c:v>
                </c:pt>
                <c:pt idx="152">
                  <c:v>25-V.</c:v>
                </c:pt>
                <c:pt idx="153">
                  <c:v>26-V.</c:v>
                </c:pt>
                <c:pt idx="154">
                  <c:v>27-V.</c:v>
                </c:pt>
                <c:pt idx="155">
                  <c:v>28-V.</c:v>
                </c:pt>
                <c:pt idx="156">
                  <c:v>29-V.</c:v>
                </c:pt>
                <c:pt idx="157">
                  <c:v>30-V.</c:v>
                </c:pt>
                <c:pt idx="158">
                  <c:v>31-V.</c:v>
                </c:pt>
                <c:pt idx="159">
                  <c:v>1-VI.</c:v>
                </c:pt>
                <c:pt idx="160">
                  <c:v>2-VI.</c:v>
                </c:pt>
                <c:pt idx="161">
                  <c:v>3-VI.</c:v>
                </c:pt>
                <c:pt idx="162">
                  <c:v>4-VI.</c:v>
                </c:pt>
                <c:pt idx="163">
                  <c:v>5-VI.</c:v>
                </c:pt>
                <c:pt idx="164">
                  <c:v>6-VI.</c:v>
                </c:pt>
                <c:pt idx="165">
                  <c:v>7-VI.</c:v>
                </c:pt>
                <c:pt idx="166">
                  <c:v>8-VI.</c:v>
                </c:pt>
                <c:pt idx="167">
                  <c:v>9-VI.</c:v>
                </c:pt>
                <c:pt idx="168">
                  <c:v>10-VI.</c:v>
                </c:pt>
                <c:pt idx="169">
                  <c:v>11-VI.</c:v>
                </c:pt>
                <c:pt idx="170">
                  <c:v>12-VI.</c:v>
                </c:pt>
                <c:pt idx="171">
                  <c:v>13-VI.</c:v>
                </c:pt>
                <c:pt idx="172">
                  <c:v>14-VI.</c:v>
                </c:pt>
                <c:pt idx="173">
                  <c:v>15-VI.</c:v>
                </c:pt>
                <c:pt idx="174">
                  <c:v>16-VI.</c:v>
                </c:pt>
                <c:pt idx="175">
                  <c:v>17-VI.</c:v>
                </c:pt>
                <c:pt idx="176">
                  <c:v>18-VI.</c:v>
                </c:pt>
                <c:pt idx="177">
                  <c:v>19-VI.</c:v>
                </c:pt>
                <c:pt idx="178">
                  <c:v>20-VI.</c:v>
                </c:pt>
                <c:pt idx="179">
                  <c:v>21-VI.</c:v>
                </c:pt>
                <c:pt idx="180">
                  <c:v>22-VI.</c:v>
                </c:pt>
                <c:pt idx="181">
                  <c:v>23-VI.</c:v>
                </c:pt>
                <c:pt idx="182">
                  <c:v>24-VI.</c:v>
                </c:pt>
                <c:pt idx="183">
                  <c:v>25-VI.</c:v>
                </c:pt>
                <c:pt idx="184">
                  <c:v>26-VI.</c:v>
                </c:pt>
                <c:pt idx="185">
                  <c:v>27-VI.</c:v>
                </c:pt>
                <c:pt idx="186">
                  <c:v>28-VI.</c:v>
                </c:pt>
                <c:pt idx="187">
                  <c:v>29-VI.</c:v>
                </c:pt>
                <c:pt idx="188">
                  <c:v>30-VI.</c:v>
                </c:pt>
                <c:pt idx="189">
                  <c:v>1-VII.</c:v>
                </c:pt>
                <c:pt idx="190">
                  <c:v>2-VII.</c:v>
                </c:pt>
                <c:pt idx="191">
                  <c:v>3-VII.</c:v>
                </c:pt>
                <c:pt idx="192">
                  <c:v>4-VII.</c:v>
                </c:pt>
                <c:pt idx="193">
                  <c:v>5-VII.</c:v>
                </c:pt>
                <c:pt idx="194">
                  <c:v>6-VII.</c:v>
                </c:pt>
                <c:pt idx="195">
                  <c:v>7-VII.</c:v>
                </c:pt>
                <c:pt idx="196">
                  <c:v>8-VII.</c:v>
                </c:pt>
                <c:pt idx="197">
                  <c:v>9-VII.</c:v>
                </c:pt>
                <c:pt idx="198">
                  <c:v>10-VII.</c:v>
                </c:pt>
                <c:pt idx="199">
                  <c:v>11-VII.</c:v>
                </c:pt>
                <c:pt idx="200">
                  <c:v>12-VII.</c:v>
                </c:pt>
                <c:pt idx="201">
                  <c:v>13-VII.</c:v>
                </c:pt>
                <c:pt idx="202">
                  <c:v>14-VII.</c:v>
                </c:pt>
                <c:pt idx="203">
                  <c:v>15-VII.</c:v>
                </c:pt>
                <c:pt idx="204">
                  <c:v>16-VII.</c:v>
                </c:pt>
                <c:pt idx="205">
                  <c:v>17-VII.</c:v>
                </c:pt>
                <c:pt idx="206">
                  <c:v>18-VII.</c:v>
                </c:pt>
                <c:pt idx="207">
                  <c:v>19-VII.</c:v>
                </c:pt>
                <c:pt idx="208">
                  <c:v>20-VII.</c:v>
                </c:pt>
                <c:pt idx="209">
                  <c:v>21-VII.</c:v>
                </c:pt>
                <c:pt idx="210">
                  <c:v>22-VII.</c:v>
                </c:pt>
                <c:pt idx="211">
                  <c:v>23-VII.</c:v>
                </c:pt>
                <c:pt idx="212">
                  <c:v>24-VII.</c:v>
                </c:pt>
                <c:pt idx="213">
                  <c:v>25-VII.</c:v>
                </c:pt>
                <c:pt idx="214">
                  <c:v>26-VII.</c:v>
                </c:pt>
                <c:pt idx="215">
                  <c:v>27-VII.</c:v>
                </c:pt>
                <c:pt idx="216">
                  <c:v>28-VII.</c:v>
                </c:pt>
                <c:pt idx="217">
                  <c:v>29-VII.</c:v>
                </c:pt>
                <c:pt idx="218">
                  <c:v>30-VII.</c:v>
                </c:pt>
                <c:pt idx="219">
                  <c:v>31-VII.</c:v>
                </c:pt>
                <c:pt idx="220">
                  <c:v>1-VIII.</c:v>
                </c:pt>
                <c:pt idx="221">
                  <c:v>2-VIII.</c:v>
                </c:pt>
                <c:pt idx="222">
                  <c:v>3-VIII.</c:v>
                </c:pt>
                <c:pt idx="223">
                  <c:v>4-VIII.</c:v>
                </c:pt>
                <c:pt idx="224">
                  <c:v>5-VIII.</c:v>
                </c:pt>
                <c:pt idx="225">
                  <c:v>6-VIII.</c:v>
                </c:pt>
                <c:pt idx="226">
                  <c:v>7-VIII.</c:v>
                </c:pt>
                <c:pt idx="227">
                  <c:v>8-VIII.</c:v>
                </c:pt>
                <c:pt idx="228">
                  <c:v>9-VIII.</c:v>
                </c:pt>
                <c:pt idx="229">
                  <c:v>10-VIII.</c:v>
                </c:pt>
                <c:pt idx="230">
                  <c:v>11-VIII.</c:v>
                </c:pt>
                <c:pt idx="231">
                  <c:v>12-VIII.</c:v>
                </c:pt>
                <c:pt idx="232">
                  <c:v>13-VIII.</c:v>
                </c:pt>
                <c:pt idx="233">
                  <c:v>14-VIII.</c:v>
                </c:pt>
                <c:pt idx="234">
                  <c:v>15-VIII.</c:v>
                </c:pt>
                <c:pt idx="235">
                  <c:v>16-VIII.</c:v>
                </c:pt>
                <c:pt idx="236">
                  <c:v>17-VIII.</c:v>
                </c:pt>
                <c:pt idx="237">
                  <c:v>18-VIII.</c:v>
                </c:pt>
                <c:pt idx="238">
                  <c:v>19-VIII.</c:v>
                </c:pt>
                <c:pt idx="239">
                  <c:v>20-VIII.</c:v>
                </c:pt>
                <c:pt idx="240">
                  <c:v>21-VIII.</c:v>
                </c:pt>
                <c:pt idx="241">
                  <c:v>22-VIII.</c:v>
                </c:pt>
                <c:pt idx="242">
                  <c:v>23-VIII.</c:v>
                </c:pt>
                <c:pt idx="243">
                  <c:v>24-VIII.</c:v>
                </c:pt>
                <c:pt idx="244">
                  <c:v>25-VIII.</c:v>
                </c:pt>
                <c:pt idx="245">
                  <c:v>26-VIII.</c:v>
                </c:pt>
                <c:pt idx="246">
                  <c:v>27-VIII.</c:v>
                </c:pt>
                <c:pt idx="247">
                  <c:v>28-VIII.</c:v>
                </c:pt>
                <c:pt idx="248">
                  <c:v>29-VIII.</c:v>
                </c:pt>
                <c:pt idx="249">
                  <c:v>30-VIII.</c:v>
                </c:pt>
                <c:pt idx="250">
                  <c:v>31-VIII.</c:v>
                </c:pt>
                <c:pt idx="251">
                  <c:v>1-IX.</c:v>
                </c:pt>
                <c:pt idx="252">
                  <c:v>2-IX.</c:v>
                </c:pt>
                <c:pt idx="253">
                  <c:v>3-IX.</c:v>
                </c:pt>
                <c:pt idx="254">
                  <c:v>4-IX.</c:v>
                </c:pt>
                <c:pt idx="255">
                  <c:v>5-IX.</c:v>
                </c:pt>
                <c:pt idx="256">
                  <c:v>6-IX.</c:v>
                </c:pt>
                <c:pt idx="257">
                  <c:v>7-IX.</c:v>
                </c:pt>
                <c:pt idx="258">
                  <c:v>8-IX.</c:v>
                </c:pt>
                <c:pt idx="259">
                  <c:v>9-IX.</c:v>
                </c:pt>
                <c:pt idx="260">
                  <c:v>10-IX.</c:v>
                </c:pt>
                <c:pt idx="261">
                  <c:v>11-IX.</c:v>
                </c:pt>
                <c:pt idx="262">
                  <c:v>12-IX.</c:v>
                </c:pt>
                <c:pt idx="263">
                  <c:v>13-IX.</c:v>
                </c:pt>
                <c:pt idx="264">
                  <c:v>14-IX.</c:v>
                </c:pt>
                <c:pt idx="265">
                  <c:v>15-IX.</c:v>
                </c:pt>
                <c:pt idx="266">
                  <c:v>16-IX.</c:v>
                </c:pt>
                <c:pt idx="267">
                  <c:v>17-IX.</c:v>
                </c:pt>
                <c:pt idx="268">
                  <c:v>18-IX.</c:v>
                </c:pt>
                <c:pt idx="269">
                  <c:v>19-IX.</c:v>
                </c:pt>
                <c:pt idx="270">
                  <c:v>20-IX.</c:v>
                </c:pt>
                <c:pt idx="271">
                  <c:v>21-IX.</c:v>
                </c:pt>
                <c:pt idx="272">
                  <c:v>22-IX.</c:v>
                </c:pt>
                <c:pt idx="273">
                  <c:v>23-IX.</c:v>
                </c:pt>
                <c:pt idx="274">
                  <c:v>24-IX.</c:v>
                </c:pt>
                <c:pt idx="275">
                  <c:v>25-IX.</c:v>
                </c:pt>
                <c:pt idx="276">
                  <c:v>26-IX.</c:v>
                </c:pt>
                <c:pt idx="277">
                  <c:v>27-IX.</c:v>
                </c:pt>
                <c:pt idx="278">
                  <c:v>28-IX.</c:v>
                </c:pt>
                <c:pt idx="279">
                  <c:v>29-IX.</c:v>
                </c:pt>
                <c:pt idx="280">
                  <c:v>30-IX.</c:v>
                </c:pt>
                <c:pt idx="281">
                  <c:v>1-X.</c:v>
                </c:pt>
                <c:pt idx="282">
                  <c:v>2-X.</c:v>
                </c:pt>
                <c:pt idx="283">
                  <c:v>3-X.</c:v>
                </c:pt>
                <c:pt idx="284">
                  <c:v>4-X.</c:v>
                </c:pt>
                <c:pt idx="285">
                  <c:v>5-X.</c:v>
                </c:pt>
                <c:pt idx="286">
                  <c:v>6-X.</c:v>
                </c:pt>
                <c:pt idx="287">
                  <c:v>7-X.</c:v>
                </c:pt>
                <c:pt idx="288">
                  <c:v>8-X.</c:v>
                </c:pt>
                <c:pt idx="289">
                  <c:v>9-X.</c:v>
                </c:pt>
                <c:pt idx="290">
                  <c:v>10-X.</c:v>
                </c:pt>
                <c:pt idx="291">
                  <c:v>11-X.</c:v>
                </c:pt>
                <c:pt idx="292">
                  <c:v>12-X.</c:v>
                </c:pt>
                <c:pt idx="293">
                  <c:v>13-X.</c:v>
                </c:pt>
                <c:pt idx="294">
                  <c:v>14-X.</c:v>
                </c:pt>
                <c:pt idx="295">
                  <c:v>15-X.</c:v>
                </c:pt>
                <c:pt idx="296">
                  <c:v>16-X.</c:v>
                </c:pt>
                <c:pt idx="297">
                  <c:v>17-X.</c:v>
                </c:pt>
                <c:pt idx="298">
                  <c:v>18-X.</c:v>
                </c:pt>
                <c:pt idx="299">
                  <c:v>19-X.</c:v>
                </c:pt>
                <c:pt idx="300">
                  <c:v>20-X.</c:v>
                </c:pt>
                <c:pt idx="301">
                  <c:v>21-X.</c:v>
                </c:pt>
              </c:strCache>
            </c:strRef>
          </c:cat>
          <c:val>
            <c:numRef>
              <c:f>List1!$F$3:$KU$3</c:f>
              <c:numCache>
                <c:formatCode>General</c:formatCode>
                <c:ptCount val="302"/>
                <c:pt idx="3">
                  <c:v>412</c:v>
                </c:pt>
                <c:pt idx="4">
                  <c:v>1128</c:v>
                </c:pt>
                <c:pt idx="5">
                  <c:v>2241</c:v>
                </c:pt>
                <c:pt idx="6">
                  <c:v>3377</c:v>
                </c:pt>
                <c:pt idx="7">
                  <c:v>3757</c:v>
                </c:pt>
                <c:pt idx="8">
                  <c:v>3873</c:v>
                </c:pt>
                <c:pt idx="9">
                  <c:v>4356</c:v>
                </c:pt>
                <c:pt idx="10">
                  <c:v>4675</c:v>
                </c:pt>
                <c:pt idx="11">
                  <c:v>6023</c:v>
                </c:pt>
                <c:pt idx="12">
                  <c:v>7666</c:v>
                </c:pt>
                <c:pt idx="13">
                  <c:v>9680</c:v>
                </c:pt>
                <c:pt idx="14">
                  <c:v>12233</c:v>
                </c:pt>
                <c:pt idx="15">
                  <c:v>15372</c:v>
                </c:pt>
                <c:pt idx="16">
                  <c:v>15819</c:v>
                </c:pt>
                <c:pt idx="17">
                  <c:v>16173</c:v>
                </c:pt>
                <c:pt idx="18">
                  <c:v>18978</c:v>
                </c:pt>
                <c:pt idx="19">
                  <c:v>22165</c:v>
                </c:pt>
                <c:pt idx="20">
                  <c:v>25027</c:v>
                </c:pt>
                <c:pt idx="21">
                  <c:v>28218</c:v>
                </c:pt>
                <c:pt idx="22">
                  <c:v>31006</c:v>
                </c:pt>
                <c:pt idx="23">
                  <c:v>31389</c:v>
                </c:pt>
                <c:pt idx="24">
                  <c:v>31615</c:v>
                </c:pt>
                <c:pt idx="25">
                  <c:v>33572</c:v>
                </c:pt>
                <c:pt idx="26">
                  <c:v>35260</c:v>
                </c:pt>
                <c:pt idx="27">
                  <c:v>36905</c:v>
                </c:pt>
                <c:pt idx="28">
                  <c:v>38439</c:v>
                </c:pt>
                <c:pt idx="29">
                  <c:v>39749</c:v>
                </c:pt>
                <c:pt idx="30">
                  <c:v>39906</c:v>
                </c:pt>
                <c:pt idx="31">
                  <c:v>40015</c:v>
                </c:pt>
                <c:pt idx="32">
                  <c:v>40661</c:v>
                </c:pt>
                <c:pt idx="33">
                  <c:v>41434</c:v>
                </c:pt>
                <c:pt idx="34">
                  <c:v>42088</c:v>
                </c:pt>
                <c:pt idx="35">
                  <c:v>42694</c:v>
                </c:pt>
                <c:pt idx="36">
                  <c:v>43256</c:v>
                </c:pt>
                <c:pt idx="37">
                  <c:v>43279</c:v>
                </c:pt>
                <c:pt idx="38">
                  <c:v>43296</c:v>
                </c:pt>
                <c:pt idx="39">
                  <c:v>43650</c:v>
                </c:pt>
                <c:pt idx="40">
                  <c:v>43992</c:v>
                </c:pt>
                <c:pt idx="41">
                  <c:v>44354</c:v>
                </c:pt>
                <c:pt idx="42">
                  <c:v>44687</c:v>
                </c:pt>
                <c:pt idx="43">
                  <c:v>45104</c:v>
                </c:pt>
                <c:pt idx="44">
                  <c:v>45126</c:v>
                </c:pt>
                <c:pt idx="45">
                  <c:v>45146</c:v>
                </c:pt>
                <c:pt idx="46">
                  <c:v>45415</c:v>
                </c:pt>
                <c:pt idx="47">
                  <c:v>45737</c:v>
                </c:pt>
                <c:pt idx="48">
                  <c:v>46141</c:v>
                </c:pt>
                <c:pt idx="49">
                  <c:v>46613</c:v>
                </c:pt>
                <c:pt idx="50">
                  <c:v>47143</c:v>
                </c:pt>
                <c:pt idx="51">
                  <c:v>47316</c:v>
                </c:pt>
                <c:pt idx="52">
                  <c:v>47370</c:v>
                </c:pt>
                <c:pt idx="53">
                  <c:v>47920</c:v>
                </c:pt>
                <c:pt idx="54">
                  <c:v>48409</c:v>
                </c:pt>
                <c:pt idx="55">
                  <c:v>48980</c:v>
                </c:pt>
                <c:pt idx="56">
                  <c:v>49651</c:v>
                </c:pt>
                <c:pt idx="57">
                  <c:v>50406</c:v>
                </c:pt>
                <c:pt idx="58">
                  <c:v>50533</c:v>
                </c:pt>
                <c:pt idx="59">
                  <c:v>50591</c:v>
                </c:pt>
                <c:pt idx="60">
                  <c:v>51188</c:v>
                </c:pt>
                <c:pt idx="61">
                  <c:v>52003</c:v>
                </c:pt>
                <c:pt idx="62">
                  <c:v>52826</c:v>
                </c:pt>
                <c:pt idx="63">
                  <c:v>54054</c:v>
                </c:pt>
                <c:pt idx="64">
                  <c:v>55045</c:v>
                </c:pt>
                <c:pt idx="65">
                  <c:v>55121</c:v>
                </c:pt>
                <c:pt idx="66">
                  <c:v>55168</c:v>
                </c:pt>
                <c:pt idx="67">
                  <c:v>56058</c:v>
                </c:pt>
                <c:pt idx="68">
                  <c:v>57009</c:v>
                </c:pt>
                <c:pt idx="69">
                  <c:v>58000</c:v>
                </c:pt>
                <c:pt idx="70">
                  <c:v>58908</c:v>
                </c:pt>
                <c:pt idx="71">
                  <c:v>60095</c:v>
                </c:pt>
                <c:pt idx="72">
                  <c:v>60343</c:v>
                </c:pt>
                <c:pt idx="73">
                  <c:v>60531</c:v>
                </c:pt>
                <c:pt idx="74">
                  <c:v>61309</c:v>
                </c:pt>
                <c:pt idx="75">
                  <c:v>62229</c:v>
                </c:pt>
                <c:pt idx="76">
                  <c:v>63175</c:v>
                </c:pt>
                <c:pt idx="77">
                  <c:v>64503</c:v>
                </c:pt>
                <c:pt idx="78">
                  <c:v>65602</c:v>
                </c:pt>
                <c:pt idx="79">
                  <c:v>65837</c:v>
                </c:pt>
                <c:pt idx="80">
                  <c:v>66079</c:v>
                </c:pt>
                <c:pt idx="81">
                  <c:v>66781</c:v>
                </c:pt>
                <c:pt idx="82">
                  <c:v>67822</c:v>
                </c:pt>
                <c:pt idx="83">
                  <c:v>68843</c:v>
                </c:pt>
                <c:pt idx="84">
                  <c:v>69734</c:v>
                </c:pt>
                <c:pt idx="85">
                  <c:v>70708</c:v>
                </c:pt>
                <c:pt idx="86">
                  <c:v>71066</c:v>
                </c:pt>
                <c:pt idx="87">
                  <c:v>71238</c:v>
                </c:pt>
                <c:pt idx="88">
                  <c:v>71767</c:v>
                </c:pt>
                <c:pt idx="89">
                  <c:v>72320</c:v>
                </c:pt>
                <c:pt idx="90">
                  <c:v>72824</c:v>
                </c:pt>
                <c:pt idx="91">
                  <c:v>73381</c:v>
                </c:pt>
                <c:pt idx="92">
                  <c:v>73961</c:v>
                </c:pt>
                <c:pt idx="93">
                  <c:v>74113</c:v>
                </c:pt>
                <c:pt idx="94">
                  <c:v>74280</c:v>
                </c:pt>
                <c:pt idx="95">
                  <c:v>74628</c:v>
                </c:pt>
                <c:pt idx="96">
                  <c:v>75075</c:v>
                </c:pt>
                <c:pt idx="97">
                  <c:v>75544</c:v>
                </c:pt>
                <c:pt idx="98">
                  <c:v>75997</c:v>
                </c:pt>
                <c:pt idx="99">
                  <c:v>76102</c:v>
                </c:pt>
                <c:pt idx="100">
                  <c:v>76144</c:v>
                </c:pt>
                <c:pt idx="101">
                  <c:v>76193</c:v>
                </c:pt>
                <c:pt idx="102">
                  <c:v>76228</c:v>
                </c:pt>
                <c:pt idx="103">
                  <c:v>76480</c:v>
                </c:pt>
                <c:pt idx="104">
                  <c:v>76797</c:v>
                </c:pt>
                <c:pt idx="105">
                  <c:v>77334</c:v>
                </c:pt>
                <c:pt idx="106">
                  <c:v>77906</c:v>
                </c:pt>
                <c:pt idx="107">
                  <c:v>78064</c:v>
                </c:pt>
                <c:pt idx="108">
                  <c:v>78164</c:v>
                </c:pt>
                <c:pt idx="109">
                  <c:v>78589</c:v>
                </c:pt>
                <c:pt idx="110">
                  <c:v>78966</c:v>
                </c:pt>
                <c:pt idx="111">
                  <c:v>79419</c:v>
                </c:pt>
                <c:pt idx="112">
                  <c:v>80073</c:v>
                </c:pt>
                <c:pt idx="113">
                  <c:v>80799</c:v>
                </c:pt>
                <c:pt idx="114">
                  <c:v>81001</c:v>
                </c:pt>
                <c:pt idx="115">
                  <c:v>81192</c:v>
                </c:pt>
                <c:pt idx="116">
                  <c:v>81710</c:v>
                </c:pt>
                <c:pt idx="117">
                  <c:v>82213</c:v>
                </c:pt>
                <c:pt idx="118">
                  <c:v>82875</c:v>
                </c:pt>
                <c:pt idx="119">
                  <c:v>83598</c:v>
                </c:pt>
                <c:pt idx="120">
                  <c:v>84311</c:v>
                </c:pt>
                <c:pt idx="121">
                  <c:v>84511</c:v>
                </c:pt>
                <c:pt idx="122">
                  <c:v>84698</c:v>
                </c:pt>
                <c:pt idx="123">
                  <c:v>85306</c:v>
                </c:pt>
                <c:pt idx="124">
                  <c:v>85855</c:v>
                </c:pt>
                <c:pt idx="125">
                  <c:v>86557</c:v>
                </c:pt>
                <c:pt idx="126">
                  <c:v>87315</c:v>
                </c:pt>
                <c:pt idx="127">
                  <c:v>87960</c:v>
                </c:pt>
                <c:pt idx="128">
                  <c:v>88114</c:v>
                </c:pt>
                <c:pt idx="129">
                  <c:v>88267</c:v>
                </c:pt>
                <c:pt idx="130">
                  <c:v>88774</c:v>
                </c:pt>
                <c:pt idx="131">
                  <c:v>89296</c:v>
                </c:pt>
                <c:pt idx="132">
                  <c:v>89821</c:v>
                </c:pt>
                <c:pt idx="133">
                  <c:v>90370</c:v>
                </c:pt>
                <c:pt idx="134">
                  <c:v>90939</c:v>
                </c:pt>
                <c:pt idx="135">
                  <c:v>91156</c:v>
                </c:pt>
                <c:pt idx="136">
                  <c:v>91263</c:v>
                </c:pt>
                <c:pt idx="137">
                  <c:v>91660</c:v>
                </c:pt>
                <c:pt idx="138">
                  <c:v>92133</c:v>
                </c:pt>
                <c:pt idx="139">
                  <c:v>92565</c:v>
                </c:pt>
                <c:pt idx="140">
                  <c:v>93001</c:v>
                </c:pt>
                <c:pt idx="141">
                  <c:v>93366</c:v>
                </c:pt>
                <c:pt idx="142">
                  <c:v>93525</c:v>
                </c:pt>
                <c:pt idx="143">
                  <c:v>93629</c:v>
                </c:pt>
                <c:pt idx="144">
                  <c:v>93946</c:v>
                </c:pt>
                <c:pt idx="145">
                  <c:v>94317</c:v>
                </c:pt>
                <c:pt idx="146">
                  <c:v>94676</c:v>
                </c:pt>
                <c:pt idx="147">
                  <c:v>95067</c:v>
                </c:pt>
                <c:pt idx="148">
                  <c:v>95430</c:v>
                </c:pt>
                <c:pt idx="149">
                  <c:v>95575</c:v>
                </c:pt>
                <c:pt idx="150">
                  <c:v>95673</c:v>
                </c:pt>
                <c:pt idx="151">
                  <c:v>95885</c:v>
                </c:pt>
                <c:pt idx="152">
                  <c:v>96121</c:v>
                </c:pt>
                <c:pt idx="153">
                  <c:v>96473</c:v>
                </c:pt>
                <c:pt idx="154">
                  <c:v>96803</c:v>
                </c:pt>
                <c:pt idx="155">
                  <c:v>97087</c:v>
                </c:pt>
                <c:pt idx="156">
                  <c:v>97227</c:v>
                </c:pt>
                <c:pt idx="157">
                  <c:v>97317</c:v>
                </c:pt>
                <c:pt idx="158">
                  <c:v>97594</c:v>
                </c:pt>
                <c:pt idx="159">
                  <c:v>97866</c:v>
                </c:pt>
                <c:pt idx="160">
                  <c:v>98208</c:v>
                </c:pt>
                <c:pt idx="161">
                  <c:v>98560</c:v>
                </c:pt>
                <c:pt idx="162">
                  <c:v>98885</c:v>
                </c:pt>
                <c:pt idx="163">
                  <c:v>99020</c:v>
                </c:pt>
                <c:pt idx="164">
                  <c:v>99150</c:v>
                </c:pt>
                <c:pt idx="165">
                  <c:v>99484</c:v>
                </c:pt>
                <c:pt idx="166">
                  <c:v>99823</c:v>
                </c:pt>
                <c:pt idx="167">
                  <c:v>100169</c:v>
                </c:pt>
                <c:pt idx="168">
                  <c:v>100525</c:v>
                </c:pt>
                <c:pt idx="169">
                  <c:v>100826</c:v>
                </c:pt>
                <c:pt idx="170">
                  <c:v>101031</c:v>
                </c:pt>
                <c:pt idx="171">
                  <c:v>101145</c:v>
                </c:pt>
                <c:pt idx="172">
                  <c:v>101386</c:v>
                </c:pt>
                <c:pt idx="173">
                  <c:v>101657</c:v>
                </c:pt>
                <c:pt idx="174">
                  <c:v>101897</c:v>
                </c:pt>
                <c:pt idx="175">
                  <c:v>102163</c:v>
                </c:pt>
                <c:pt idx="176">
                  <c:v>102380</c:v>
                </c:pt>
                <c:pt idx="177">
                  <c:v>102497</c:v>
                </c:pt>
                <c:pt idx="178">
                  <c:v>102589</c:v>
                </c:pt>
                <c:pt idx="179">
                  <c:v>102767</c:v>
                </c:pt>
                <c:pt idx="180">
                  <c:v>102984</c:v>
                </c:pt>
                <c:pt idx="181">
                  <c:v>103171</c:v>
                </c:pt>
                <c:pt idx="182">
                  <c:v>103330</c:v>
                </c:pt>
                <c:pt idx="183">
                  <c:v>103516</c:v>
                </c:pt>
                <c:pt idx="184">
                  <c:v>103607</c:v>
                </c:pt>
                <c:pt idx="185">
                  <c:v>103673</c:v>
                </c:pt>
                <c:pt idx="186">
                  <c:v>103853</c:v>
                </c:pt>
                <c:pt idx="187">
                  <c:v>104019</c:v>
                </c:pt>
                <c:pt idx="188">
                  <c:v>104197</c:v>
                </c:pt>
                <c:pt idx="189">
                  <c:v>104336</c:v>
                </c:pt>
                <c:pt idx="190">
                  <c:v>104530</c:v>
                </c:pt>
                <c:pt idx="191">
                  <c:v>104563</c:v>
                </c:pt>
                <c:pt idx="192">
                  <c:v>104608</c:v>
                </c:pt>
                <c:pt idx="193">
                  <c:v>104656</c:v>
                </c:pt>
                <c:pt idx="194">
                  <c:v>104688</c:v>
                </c:pt>
                <c:pt idx="195">
                  <c:v>104851</c:v>
                </c:pt>
                <c:pt idx="196">
                  <c:v>105026</c:v>
                </c:pt>
                <c:pt idx="197">
                  <c:v>105195</c:v>
                </c:pt>
                <c:pt idx="198">
                  <c:v>105253</c:v>
                </c:pt>
                <c:pt idx="199">
                  <c:v>105302</c:v>
                </c:pt>
                <c:pt idx="200">
                  <c:v>105463</c:v>
                </c:pt>
                <c:pt idx="201">
                  <c:v>105647</c:v>
                </c:pt>
                <c:pt idx="202">
                  <c:v>105851</c:v>
                </c:pt>
                <c:pt idx="203">
                  <c:v>106038</c:v>
                </c:pt>
                <c:pt idx="204">
                  <c:v>106220</c:v>
                </c:pt>
                <c:pt idx="205">
                  <c:v>106270</c:v>
                </c:pt>
                <c:pt idx="206">
                  <c:v>106328</c:v>
                </c:pt>
                <c:pt idx="207">
                  <c:v>106499</c:v>
                </c:pt>
                <c:pt idx="208">
                  <c:v>106648</c:v>
                </c:pt>
                <c:pt idx="209">
                  <c:v>106828</c:v>
                </c:pt>
                <c:pt idx="210">
                  <c:v>107004</c:v>
                </c:pt>
                <c:pt idx="211">
                  <c:v>107150</c:v>
                </c:pt>
                <c:pt idx="212">
                  <c:v>107194</c:v>
                </c:pt>
                <c:pt idx="213">
                  <c:v>107220</c:v>
                </c:pt>
                <c:pt idx="214">
                  <c:v>107388</c:v>
                </c:pt>
                <c:pt idx="215">
                  <c:v>107556</c:v>
                </c:pt>
                <c:pt idx="216">
                  <c:v>107706</c:v>
                </c:pt>
                <c:pt idx="217">
                  <c:v>107855</c:v>
                </c:pt>
                <c:pt idx="218">
                  <c:v>108020</c:v>
                </c:pt>
                <c:pt idx="219">
                  <c:v>108060</c:v>
                </c:pt>
                <c:pt idx="220">
                  <c:v>108100</c:v>
                </c:pt>
                <c:pt idx="221">
                  <c:v>108199</c:v>
                </c:pt>
                <c:pt idx="222">
                  <c:v>108310</c:v>
                </c:pt>
                <c:pt idx="223">
                  <c:v>108438</c:v>
                </c:pt>
                <c:pt idx="224">
                  <c:v>108547</c:v>
                </c:pt>
                <c:pt idx="225">
                  <c:v>108667</c:v>
                </c:pt>
                <c:pt idx="226">
                  <c:v>108689</c:v>
                </c:pt>
                <c:pt idx="227">
                  <c:v>108714</c:v>
                </c:pt>
                <c:pt idx="228">
                  <c:v>108798</c:v>
                </c:pt>
                <c:pt idx="229">
                  <c:v>108877</c:v>
                </c:pt>
                <c:pt idx="230">
                  <c:v>108947</c:v>
                </c:pt>
                <c:pt idx="231">
                  <c:v>109053</c:v>
                </c:pt>
                <c:pt idx="232">
                  <c:v>109116</c:v>
                </c:pt>
                <c:pt idx="233">
                  <c:v>109137</c:v>
                </c:pt>
                <c:pt idx="234">
                  <c:v>109159</c:v>
                </c:pt>
                <c:pt idx="235">
                  <c:v>109245</c:v>
                </c:pt>
                <c:pt idx="236">
                  <c:v>109324</c:v>
                </c:pt>
                <c:pt idx="237">
                  <c:v>109387</c:v>
                </c:pt>
                <c:pt idx="238">
                  <c:v>109457</c:v>
                </c:pt>
                <c:pt idx="239">
                  <c:v>109571</c:v>
                </c:pt>
                <c:pt idx="240">
                  <c:v>109585</c:v>
                </c:pt>
                <c:pt idx="241">
                  <c:v>109596</c:v>
                </c:pt>
                <c:pt idx="242">
                  <c:v>109691</c:v>
                </c:pt>
                <c:pt idx="243">
                  <c:v>109778</c:v>
                </c:pt>
                <c:pt idx="244">
                  <c:v>109843</c:v>
                </c:pt>
                <c:pt idx="245">
                  <c:v>109914</c:v>
                </c:pt>
                <c:pt idx="246">
                  <c:v>110002</c:v>
                </c:pt>
                <c:pt idx="247">
                  <c:v>110018</c:v>
                </c:pt>
                <c:pt idx="248">
                  <c:v>110034</c:v>
                </c:pt>
                <c:pt idx="249">
                  <c:v>110106</c:v>
                </c:pt>
                <c:pt idx="250">
                  <c:v>110167</c:v>
                </c:pt>
                <c:pt idx="251">
                  <c:v>110223</c:v>
                </c:pt>
                <c:pt idx="252">
                  <c:v>110295</c:v>
                </c:pt>
                <c:pt idx="253">
                  <c:v>110371</c:v>
                </c:pt>
                <c:pt idx="254">
                  <c:v>110383</c:v>
                </c:pt>
                <c:pt idx="255">
                  <c:v>110393</c:v>
                </c:pt>
                <c:pt idx="256">
                  <c:v>110451</c:v>
                </c:pt>
                <c:pt idx="257">
                  <c:v>110490</c:v>
                </c:pt>
                <c:pt idx="258">
                  <c:v>110541</c:v>
                </c:pt>
                <c:pt idx="259">
                  <c:v>110596</c:v>
                </c:pt>
                <c:pt idx="260">
                  <c:v>110647</c:v>
                </c:pt>
                <c:pt idx="261">
                  <c:v>110664</c:v>
                </c:pt>
                <c:pt idx="262">
                  <c:v>110671</c:v>
                </c:pt>
                <c:pt idx="263">
                  <c:v>110715</c:v>
                </c:pt>
                <c:pt idx="264">
                  <c:v>110778</c:v>
                </c:pt>
                <c:pt idx="265">
                  <c:v>110825</c:v>
                </c:pt>
                <c:pt idx="266">
                  <c:v>110881</c:v>
                </c:pt>
                <c:pt idx="267">
                  <c:v>110948</c:v>
                </c:pt>
                <c:pt idx="268">
                  <c:v>110965</c:v>
                </c:pt>
                <c:pt idx="269">
                  <c:v>110971</c:v>
                </c:pt>
                <c:pt idx="270">
                  <c:v>111009</c:v>
                </c:pt>
                <c:pt idx="271">
                  <c:v>111057</c:v>
                </c:pt>
                <c:pt idx="272">
                  <c:v>111099</c:v>
                </c:pt>
                <c:pt idx="273">
                  <c:v>111150</c:v>
                </c:pt>
                <c:pt idx="274">
                  <c:v>111222</c:v>
                </c:pt>
                <c:pt idx="275">
                  <c:v>111232</c:v>
                </c:pt>
                <c:pt idx="276">
                  <c:v>111236</c:v>
                </c:pt>
                <c:pt idx="277">
                  <c:v>111279</c:v>
                </c:pt>
                <c:pt idx="278">
                  <c:v>111281</c:v>
                </c:pt>
                <c:pt idx="279">
                  <c:v>111321</c:v>
                </c:pt>
                <c:pt idx="280">
                  <c:v>111357</c:v>
                </c:pt>
                <c:pt idx="281">
                  <c:v>111388</c:v>
                </c:pt>
                <c:pt idx="282">
                  <c:v>111395</c:v>
                </c:pt>
                <c:pt idx="283">
                  <c:v>111402</c:v>
                </c:pt>
                <c:pt idx="284">
                  <c:v>111428</c:v>
                </c:pt>
                <c:pt idx="285">
                  <c:v>111472</c:v>
                </c:pt>
                <c:pt idx="286">
                  <c:v>111519</c:v>
                </c:pt>
                <c:pt idx="287">
                  <c:v>111545</c:v>
                </c:pt>
                <c:pt idx="288">
                  <c:v>111594</c:v>
                </c:pt>
                <c:pt idx="289">
                  <c:v>111604</c:v>
                </c:pt>
                <c:pt idx="290">
                  <c:v>111609</c:v>
                </c:pt>
                <c:pt idx="291">
                  <c:v>111635</c:v>
                </c:pt>
                <c:pt idx="292">
                  <c:v>111652</c:v>
                </c:pt>
                <c:pt idx="293">
                  <c:v>111685</c:v>
                </c:pt>
                <c:pt idx="294">
                  <c:v>111713</c:v>
                </c:pt>
                <c:pt idx="295">
                  <c:v>111753</c:v>
                </c:pt>
                <c:pt idx="296">
                  <c:v>111764</c:v>
                </c:pt>
                <c:pt idx="297">
                  <c:v>111781</c:v>
                </c:pt>
                <c:pt idx="298">
                  <c:v>111829</c:v>
                </c:pt>
                <c:pt idx="299">
                  <c:v>111877</c:v>
                </c:pt>
                <c:pt idx="300">
                  <c:v>111933</c:v>
                </c:pt>
                <c:pt idx="301">
                  <c:v>11203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9B2-46E3-85FE-A83BCF6CC085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Ostatní ZP</c:v>
                </c:pt>
              </c:strCache>
            </c:strRef>
          </c:tx>
          <c:spPr>
            <a:ln w="28575" cap="rnd">
              <a:solidFill>
                <a:srgbClr val="A6A6A6"/>
              </a:solidFill>
              <a:round/>
            </a:ln>
            <a:effectLst/>
          </c:spPr>
          <c:marker>
            <c:symbol val="none"/>
          </c:marker>
          <c:cat>
            <c:strRef>
              <c:f>List1!$F$1:$KU$1</c:f>
              <c:strCache>
                <c:ptCount val="302"/>
                <c:pt idx="0">
                  <c:v>24-XII.</c:v>
                </c:pt>
                <c:pt idx="1">
                  <c:v>25-XII.</c:v>
                </c:pt>
                <c:pt idx="2">
                  <c:v>26-XII.</c:v>
                </c:pt>
                <c:pt idx="3">
                  <c:v>27-XII.</c:v>
                </c:pt>
                <c:pt idx="4">
                  <c:v>28-XII.</c:v>
                </c:pt>
                <c:pt idx="5">
                  <c:v>29-XII.</c:v>
                </c:pt>
                <c:pt idx="6">
                  <c:v>30-XII.</c:v>
                </c:pt>
                <c:pt idx="7">
                  <c:v>31-XII.</c:v>
                </c:pt>
                <c:pt idx="8">
                  <c:v>1-I.</c:v>
                </c:pt>
                <c:pt idx="9">
                  <c:v>2-I.</c:v>
                </c:pt>
                <c:pt idx="10">
                  <c:v>3-I.</c:v>
                </c:pt>
                <c:pt idx="11">
                  <c:v>4-I.</c:v>
                </c:pt>
                <c:pt idx="12">
                  <c:v>5-I.</c:v>
                </c:pt>
                <c:pt idx="13">
                  <c:v>6-I.</c:v>
                </c:pt>
                <c:pt idx="14">
                  <c:v>7-I.</c:v>
                </c:pt>
                <c:pt idx="15">
                  <c:v>8-I.</c:v>
                </c:pt>
                <c:pt idx="16">
                  <c:v>9-I.</c:v>
                </c:pt>
                <c:pt idx="17">
                  <c:v>10-I.</c:v>
                </c:pt>
                <c:pt idx="18">
                  <c:v>11-I.</c:v>
                </c:pt>
                <c:pt idx="19">
                  <c:v>12-I.</c:v>
                </c:pt>
                <c:pt idx="20">
                  <c:v>13-I.</c:v>
                </c:pt>
                <c:pt idx="21">
                  <c:v>14-I.</c:v>
                </c:pt>
                <c:pt idx="22">
                  <c:v>15-I.</c:v>
                </c:pt>
                <c:pt idx="23">
                  <c:v>16-I.</c:v>
                </c:pt>
                <c:pt idx="24">
                  <c:v>17-I.</c:v>
                </c:pt>
                <c:pt idx="25">
                  <c:v>18-I.</c:v>
                </c:pt>
                <c:pt idx="26">
                  <c:v>19-I.</c:v>
                </c:pt>
                <c:pt idx="27">
                  <c:v>20-I.</c:v>
                </c:pt>
                <c:pt idx="28">
                  <c:v>21-I.</c:v>
                </c:pt>
                <c:pt idx="29">
                  <c:v>22-I.</c:v>
                </c:pt>
                <c:pt idx="30">
                  <c:v>23-I.</c:v>
                </c:pt>
                <c:pt idx="31">
                  <c:v>24-I.</c:v>
                </c:pt>
                <c:pt idx="32">
                  <c:v>25-I.</c:v>
                </c:pt>
                <c:pt idx="33">
                  <c:v>26-I.</c:v>
                </c:pt>
                <c:pt idx="34">
                  <c:v>27-I.</c:v>
                </c:pt>
                <c:pt idx="35">
                  <c:v>28-I.</c:v>
                </c:pt>
                <c:pt idx="36">
                  <c:v>29-I.</c:v>
                </c:pt>
                <c:pt idx="37">
                  <c:v>30-I.</c:v>
                </c:pt>
                <c:pt idx="38">
                  <c:v>31-I.</c:v>
                </c:pt>
                <c:pt idx="39">
                  <c:v>1-II.</c:v>
                </c:pt>
                <c:pt idx="40">
                  <c:v>2-II.</c:v>
                </c:pt>
                <c:pt idx="41">
                  <c:v>3-II.</c:v>
                </c:pt>
                <c:pt idx="42">
                  <c:v>4-II.</c:v>
                </c:pt>
                <c:pt idx="43">
                  <c:v>5-II.</c:v>
                </c:pt>
                <c:pt idx="44">
                  <c:v>6-II.</c:v>
                </c:pt>
                <c:pt idx="45">
                  <c:v>7-II.</c:v>
                </c:pt>
                <c:pt idx="46">
                  <c:v>8-II.</c:v>
                </c:pt>
                <c:pt idx="47">
                  <c:v>9-II.</c:v>
                </c:pt>
                <c:pt idx="48">
                  <c:v>10-II.</c:v>
                </c:pt>
                <c:pt idx="49">
                  <c:v>11-II.</c:v>
                </c:pt>
                <c:pt idx="50">
                  <c:v>12-II.</c:v>
                </c:pt>
                <c:pt idx="51">
                  <c:v>13-II.</c:v>
                </c:pt>
                <c:pt idx="52">
                  <c:v>14-II.</c:v>
                </c:pt>
                <c:pt idx="53">
                  <c:v>15-II.</c:v>
                </c:pt>
                <c:pt idx="54">
                  <c:v>16-II.</c:v>
                </c:pt>
                <c:pt idx="55">
                  <c:v>17-II.</c:v>
                </c:pt>
                <c:pt idx="56">
                  <c:v>18-II.</c:v>
                </c:pt>
                <c:pt idx="57">
                  <c:v>19-II.</c:v>
                </c:pt>
                <c:pt idx="58">
                  <c:v>20-II.</c:v>
                </c:pt>
                <c:pt idx="59">
                  <c:v>21-II.</c:v>
                </c:pt>
                <c:pt idx="60">
                  <c:v>22-II.</c:v>
                </c:pt>
                <c:pt idx="61">
                  <c:v>23-II.</c:v>
                </c:pt>
                <c:pt idx="62">
                  <c:v>24-II.</c:v>
                </c:pt>
                <c:pt idx="63">
                  <c:v>25-II.</c:v>
                </c:pt>
                <c:pt idx="64">
                  <c:v>26-II.</c:v>
                </c:pt>
                <c:pt idx="65">
                  <c:v>27-II.</c:v>
                </c:pt>
                <c:pt idx="66">
                  <c:v>28-II.</c:v>
                </c:pt>
                <c:pt idx="67">
                  <c:v>1-III.</c:v>
                </c:pt>
                <c:pt idx="68">
                  <c:v>2-III.</c:v>
                </c:pt>
                <c:pt idx="69">
                  <c:v>3-III.</c:v>
                </c:pt>
                <c:pt idx="70">
                  <c:v>4-III.</c:v>
                </c:pt>
                <c:pt idx="71">
                  <c:v>5-III.</c:v>
                </c:pt>
                <c:pt idx="72">
                  <c:v>6-III.</c:v>
                </c:pt>
                <c:pt idx="73">
                  <c:v>7-III.</c:v>
                </c:pt>
                <c:pt idx="74">
                  <c:v>8-III.</c:v>
                </c:pt>
                <c:pt idx="75">
                  <c:v>9-III.</c:v>
                </c:pt>
                <c:pt idx="76">
                  <c:v>10-III.</c:v>
                </c:pt>
                <c:pt idx="77">
                  <c:v>11-III.</c:v>
                </c:pt>
                <c:pt idx="78">
                  <c:v>12-III.</c:v>
                </c:pt>
                <c:pt idx="79">
                  <c:v>13-III.</c:v>
                </c:pt>
                <c:pt idx="80">
                  <c:v>14-III.</c:v>
                </c:pt>
                <c:pt idx="81">
                  <c:v>15-III.</c:v>
                </c:pt>
                <c:pt idx="82">
                  <c:v>16-III.</c:v>
                </c:pt>
                <c:pt idx="83">
                  <c:v>17-III.</c:v>
                </c:pt>
                <c:pt idx="84">
                  <c:v>18-III.</c:v>
                </c:pt>
                <c:pt idx="85">
                  <c:v>19-III.</c:v>
                </c:pt>
                <c:pt idx="86">
                  <c:v>20-III.</c:v>
                </c:pt>
                <c:pt idx="87">
                  <c:v>21-III.</c:v>
                </c:pt>
                <c:pt idx="88">
                  <c:v>22-III.</c:v>
                </c:pt>
                <c:pt idx="89">
                  <c:v>23-III.</c:v>
                </c:pt>
                <c:pt idx="90">
                  <c:v>24-III.</c:v>
                </c:pt>
                <c:pt idx="91">
                  <c:v>25-III.</c:v>
                </c:pt>
                <c:pt idx="92">
                  <c:v>26-III.</c:v>
                </c:pt>
                <c:pt idx="93">
                  <c:v>27-III.</c:v>
                </c:pt>
                <c:pt idx="94">
                  <c:v>28-III.</c:v>
                </c:pt>
                <c:pt idx="95">
                  <c:v>29-III.</c:v>
                </c:pt>
                <c:pt idx="96">
                  <c:v>30-III.</c:v>
                </c:pt>
                <c:pt idx="97">
                  <c:v>31-III.</c:v>
                </c:pt>
                <c:pt idx="98">
                  <c:v>1-IV.</c:v>
                </c:pt>
                <c:pt idx="99">
                  <c:v>2-IV.</c:v>
                </c:pt>
                <c:pt idx="100">
                  <c:v>3-IV.</c:v>
                </c:pt>
                <c:pt idx="101">
                  <c:v>4-IV.</c:v>
                </c:pt>
                <c:pt idx="102">
                  <c:v>5-IV.</c:v>
                </c:pt>
                <c:pt idx="103">
                  <c:v>6-IV.</c:v>
                </c:pt>
                <c:pt idx="104">
                  <c:v>7-IV.</c:v>
                </c:pt>
                <c:pt idx="105">
                  <c:v>8-IV.</c:v>
                </c:pt>
                <c:pt idx="106">
                  <c:v>9-IV.</c:v>
                </c:pt>
                <c:pt idx="107">
                  <c:v>10-IV.</c:v>
                </c:pt>
                <c:pt idx="108">
                  <c:v>11-IV.</c:v>
                </c:pt>
                <c:pt idx="109">
                  <c:v>12-IV.</c:v>
                </c:pt>
                <c:pt idx="110">
                  <c:v>13-IV.</c:v>
                </c:pt>
                <c:pt idx="111">
                  <c:v>14-IV.</c:v>
                </c:pt>
                <c:pt idx="112">
                  <c:v>15-IV.</c:v>
                </c:pt>
                <c:pt idx="113">
                  <c:v>16-IV.</c:v>
                </c:pt>
                <c:pt idx="114">
                  <c:v>17-IV.</c:v>
                </c:pt>
                <c:pt idx="115">
                  <c:v>18-IV.</c:v>
                </c:pt>
                <c:pt idx="116">
                  <c:v>19-IV.</c:v>
                </c:pt>
                <c:pt idx="117">
                  <c:v>20-IV.</c:v>
                </c:pt>
                <c:pt idx="118">
                  <c:v>21-IV.</c:v>
                </c:pt>
                <c:pt idx="119">
                  <c:v>22-IV.</c:v>
                </c:pt>
                <c:pt idx="120">
                  <c:v>23-IV.</c:v>
                </c:pt>
                <c:pt idx="121">
                  <c:v>24-IV.</c:v>
                </c:pt>
                <c:pt idx="122">
                  <c:v>25-IV.</c:v>
                </c:pt>
                <c:pt idx="123">
                  <c:v>26-IV.</c:v>
                </c:pt>
                <c:pt idx="124">
                  <c:v>27-IV.</c:v>
                </c:pt>
                <c:pt idx="125">
                  <c:v>28-IV.</c:v>
                </c:pt>
                <c:pt idx="126">
                  <c:v>29-IV.</c:v>
                </c:pt>
                <c:pt idx="127">
                  <c:v>30-IV.</c:v>
                </c:pt>
                <c:pt idx="128">
                  <c:v>1-V.</c:v>
                </c:pt>
                <c:pt idx="129">
                  <c:v>2-V.</c:v>
                </c:pt>
                <c:pt idx="130">
                  <c:v>3-V.</c:v>
                </c:pt>
                <c:pt idx="131">
                  <c:v>4-V.</c:v>
                </c:pt>
                <c:pt idx="132">
                  <c:v>5-V.</c:v>
                </c:pt>
                <c:pt idx="133">
                  <c:v>6-V.</c:v>
                </c:pt>
                <c:pt idx="134">
                  <c:v>7-V.</c:v>
                </c:pt>
                <c:pt idx="135">
                  <c:v>8-V.</c:v>
                </c:pt>
                <c:pt idx="136">
                  <c:v>9-V.</c:v>
                </c:pt>
                <c:pt idx="137">
                  <c:v>10-V.</c:v>
                </c:pt>
                <c:pt idx="138">
                  <c:v>11-V.</c:v>
                </c:pt>
                <c:pt idx="139">
                  <c:v>12-V.</c:v>
                </c:pt>
                <c:pt idx="140">
                  <c:v>13-V.</c:v>
                </c:pt>
                <c:pt idx="141">
                  <c:v>14-V.</c:v>
                </c:pt>
                <c:pt idx="142">
                  <c:v>15-V.</c:v>
                </c:pt>
                <c:pt idx="143">
                  <c:v>16-V.</c:v>
                </c:pt>
                <c:pt idx="144">
                  <c:v>17-V.</c:v>
                </c:pt>
                <c:pt idx="145">
                  <c:v>18-V.</c:v>
                </c:pt>
                <c:pt idx="146">
                  <c:v>19-V.</c:v>
                </c:pt>
                <c:pt idx="147">
                  <c:v>20-V.</c:v>
                </c:pt>
                <c:pt idx="148">
                  <c:v>21-V.</c:v>
                </c:pt>
                <c:pt idx="149">
                  <c:v>22-V.</c:v>
                </c:pt>
                <c:pt idx="150">
                  <c:v>23-V.</c:v>
                </c:pt>
                <c:pt idx="151">
                  <c:v>24-V.</c:v>
                </c:pt>
                <c:pt idx="152">
                  <c:v>25-V.</c:v>
                </c:pt>
                <c:pt idx="153">
                  <c:v>26-V.</c:v>
                </c:pt>
                <c:pt idx="154">
                  <c:v>27-V.</c:v>
                </c:pt>
                <c:pt idx="155">
                  <c:v>28-V.</c:v>
                </c:pt>
                <c:pt idx="156">
                  <c:v>29-V.</c:v>
                </c:pt>
                <c:pt idx="157">
                  <c:v>30-V.</c:v>
                </c:pt>
                <c:pt idx="158">
                  <c:v>31-V.</c:v>
                </c:pt>
                <c:pt idx="159">
                  <c:v>1-VI.</c:v>
                </c:pt>
                <c:pt idx="160">
                  <c:v>2-VI.</c:v>
                </c:pt>
                <c:pt idx="161">
                  <c:v>3-VI.</c:v>
                </c:pt>
                <c:pt idx="162">
                  <c:v>4-VI.</c:v>
                </c:pt>
                <c:pt idx="163">
                  <c:v>5-VI.</c:v>
                </c:pt>
                <c:pt idx="164">
                  <c:v>6-VI.</c:v>
                </c:pt>
                <c:pt idx="165">
                  <c:v>7-VI.</c:v>
                </c:pt>
                <c:pt idx="166">
                  <c:v>8-VI.</c:v>
                </c:pt>
                <c:pt idx="167">
                  <c:v>9-VI.</c:v>
                </c:pt>
                <c:pt idx="168">
                  <c:v>10-VI.</c:v>
                </c:pt>
                <c:pt idx="169">
                  <c:v>11-VI.</c:v>
                </c:pt>
                <c:pt idx="170">
                  <c:v>12-VI.</c:v>
                </c:pt>
                <c:pt idx="171">
                  <c:v>13-VI.</c:v>
                </c:pt>
                <c:pt idx="172">
                  <c:v>14-VI.</c:v>
                </c:pt>
                <c:pt idx="173">
                  <c:v>15-VI.</c:v>
                </c:pt>
                <c:pt idx="174">
                  <c:v>16-VI.</c:v>
                </c:pt>
                <c:pt idx="175">
                  <c:v>17-VI.</c:v>
                </c:pt>
                <c:pt idx="176">
                  <c:v>18-VI.</c:v>
                </c:pt>
                <c:pt idx="177">
                  <c:v>19-VI.</c:v>
                </c:pt>
                <c:pt idx="178">
                  <c:v>20-VI.</c:v>
                </c:pt>
                <c:pt idx="179">
                  <c:v>21-VI.</c:v>
                </c:pt>
                <c:pt idx="180">
                  <c:v>22-VI.</c:v>
                </c:pt>
                <c:pt idx="181">
                  <c:v>23-VI.</c:v>
                </c:pt>
                <c:pt idx="182">
                  <c:v>24-VI.</c:v>
                </c:pt>
                <c:pt idx="183">
                  <c:v>25-VI.</c:v>
                </c:pt>
                <c:pt idx="184">
                  <c:v>26-VI.</c:v>
                </c:pt>
                <c:pt idx="185">
                  <c:v>27-VI.</c:v>
                </c:pt>
                <c:pt idx="186">
                  <c:v>28-VI.</c:v>
                </c:pt>
                <c:pt idx="187">
                  <c:v>29-VI.</c:v>
                </c:pt>
                <c:pt idx="188">
                  <c:v>30-VI.</c:v>
                </c:pt>
                <c:pt idx="189">
                  <c:v>1-VII.</c:v>
                </c:pt>
                <c:pt idx="190">
                  <c:v>2-VII.</c:v>
                </c:pt>
                <c:pt idx="191">
                  <c:v>3-VII.</c:v>
                </c:pt>
                <c:pt idx="192">
                  <c:v>4-VII.</c:v>
                </c:pt>
                <c:pt idx="193">
                  <c:v>5-VII.</c:v>
                </c:pt>
                <c:pt idx="194">
                  <c:v>6-VII.</c:v>
                </c:pt>
                <c:pt idx="195">
                  <c:v>7-VII.</c:v>
                </c:pt>
                <c:pt idx="196">
                  <c:v>8-VII.</c:v>
                </c:pt>
                <c:pt idx="197">
                  <c:v>9-VII.</c:v>
                </c:pt>
                <c:pt idx="198">
                  <c:v>10-VII.</c:v>
                </c:pt>
                <c:pt idx="199">
                  <c:v>11-VII.</c:v>
                </c:pt>
                <c:pt idx="200">
                  <c:v>12-VII.</c:v>
                </c:pt>
                <c:pt idx="201">
                  <c:v>13-VII.</c:v>
                </c:pt>
                <c:pt idx="202">
                  <c:v>14-VII.</c:v>
                </c:pt>
                <c:pt idx="203">
                  <c:v>15-VII.</c:v>
                </c:pt>
                <c:pt idx="204">
                  <c:v>16-VII.</c:v>
                </c:pt>
                <c:pt idx="205">
                  <c:v>17-VII.</c:v>
                </c:pt>
                <c:pt idx="206">
                  <c:v>18-VII.</c:v>
                </c:pt>
                <c:pt idx="207">
                  <c:v>19-VII.</c:v>
                </c:pt>
                <c:pt idx="208">
                  <c:v>20-VII.</c:v>
                </c:pt>
                <c:pt idx="209">
                  <c:v>21-VII.</c:v>
                </c:pt>
                <c:pt idx="210">
                  <c:v>22-VII.</c:v>
                </c:pt>
                <c:pt idx="211">
                  <c:v>23-VII.</c:v>
                </c:pt>
                <c:pt idx="212">
                  <c:v>24-VII.</c:v>
                </c:pt>
                <c:pt idx="213">
                  <c:v>25-VII.</c:v>
                </c:pt>
                <c:pt idx="214">
                  <c:v>26-VII.</c:v>
                </c:pt>
                <c:pt idx="215">
                  <c:v>27-VII.</c:v>
                </c:pt>
                <c:pt idx="216">
                  <c:v>28-VII.</c:v>
                </c:pt>
                <c:pt idx="217">
                  <c:v>29-VII.</c:v>
                </c:pt>
                <c:pt idx="218">
                  <c:v>30-VII.</c:v>
                </c:pt>
                <c:pt idx="219">
                  <c:v>31-VII.</c:v>
                </c:pt>
                <c:pt idx="220">
                  <c:v>1-VIII.</c:v>
                </c:pt>
                <c:pt idx="221">
                  <c:v>2-VIII.</c:v>
                </c:pt>
                <c:pt idx="222">
                  <c:v>3-VIII.</c:v>
                </c:pt>
                <c:pt idx="223">
                  <c:v>4-VIII.</c:v>
                </c:pt>
                <c:pt idx="224">
                  <c:v>5-VIII.</c:v>
                </c:pt>
                <c:pt idx="225">
                  <c:v>6-VIII.</c:v>
                </c:pt>
                <c:pt idx="226">
                  <c:v>7-VIII.</c:v>
                </c:pt>
                <c:pt idx="227">
                  <c:v>8-VIII.</c:v>
                </c:pt>
                <c:pt idx="228">
                  <c:v>9-VIII.</c:v>
                </c:pt>
                <c:pt idx="229">
                  <c:v>10-VIII.</c:v>
                </c:pt>
                <c:pt idx="230">
                  <c:v>11-VIII.</c:v>
                </c:pt>
                <c:pt idx="231">
                  <c:v>12-VIII.</c:v>
                </c:pt>
                <c:pt idx="232">
                  <c:v>13-VIII.</c:v>
                </c:pt>
                <c:pt idx="233">
                  <c:v>14-VIII.</c:v>
                </c:pt>
                <c:pt idx="234">
                  <c:v>15-VIII.</c:v>
                </c:pt>
                <c:pt idx="235">
                  <c:v>16-VIII.</c:v>
                </c:pt>
                <c:pt idx="236">
                  <c:v>17-VIII.</c:v>
                </c:pt>
                <c:pt idx="237">
                  <c:v>18-VIII.</c:v>
                </c:pt>
                <c:pt idx="238">
                  <c:v>19-VIII.</c:v>
                </c:pt>
                <c:pt idx="239">
                  <c:v>20-VIII.</c:v>
                </c:pt>
                <c:pt idx="240">
                  <c:v>21-VIII.</c:v>
                </c:pt>
                <c:pt idx="241">
                  <c:v>22-VIII.</c:v>
                </c:pt>
                <c:pt idx="242">
                  <c:v>23-VIII.</c:v>
                </c:pt>
                <c:pt idx="243">
                  <c:v>24-VIII.</c:v>
                </c:pt>
                <c:pt idx="244">
                  <c:v>25-VIII.</c:v>
                </c:pt>
                <c:pt idx="245">
                  <c:v>26-VIII.</c:v>
                </c:pt>
                <c:pt idx="246">
                  <c:v>27-VIII.</c:v>
                </c:pt>
                <c:pt idx="247">
                  <c:v>28-VIII.</c:v>
                </c:pt>
                <c:pt idx="248">
                  <c:v>29-VIII.</c:v>
                </c:pt>
                <c:pt idx="249">
                  <c:v>30-VIII.</c:v>
                </c:pt>
                <c:pt idx="250">
                  <c:v>31-VIII.</c:v>
                </c:pt>
                <c:pt idx="251">
                  <c:v>1-IX.</c:v>
                </c:pt>
                <c:pt idx="252">
                  <c:v>2-IX.</c:v>
                </c:pt>
                <c:pt idx="253">
                  <c:v>3-IX.</c:v>
                </c:pt>
                <c:pt idx="254">
                  <c:v>4-IX.</c:v>
                </c:pt>
                <c:pt idx="255">
                  <c:v>5-IX.</c:v>
                </c:pt>
                <c:pt idx="256">
                  <c:v>6-IX.</c:v>
                </c:pt>
                <c:pt idx="257">
                  <c:v>7-IX.</c:v>
                </c:pt>
                <c:pt idx="258">
                  <c:v>8-IX.</c:v>
                </c:pt>
                <c:pt idx="259">
                  <c:v>9-IX.</c:v>
                </c:pt>
                <c:pt idx="260">
                  <c:v>10-IX.</c:v>
                </c:pt>
                <c:pt idx="261">
                  <c:v>11-IX.</c:v>
                </c:pt>
                <c:pt idx="262">
                  <c:v>12-IX.</c:v>
                </c:pt>
                <c:pt idx="263">
                  <c:v>13-IX.</c:v>
                </c:pt>
                <c:pt idx="264">
                  <c:v>14-IX.</c:v>
                </c:pt>
                <c:pt idx="265">
                  <c:v>15-IX.</c:v>
                </c:pt>
                <c:pt idx="266">
                  <c:v>16-IX.</c:v>
                </c:pt>
                <c:pt idx="267">
                  <c:v>17-IX.</c:v>
                </c:pt>
                <c:pt idx="268">
                  <c:v>18-IX.</c:v>
                </c:pt>
                <c:pt idx="269">
                  <c:v>19-IX.</c:v>
                </c:pt>
                <c:pt idx="270">
                  <c:v>20-IX.</c:v>
                </c:pt>
                <c:pt idx="271">
                  <c:v>21-IX.</c:v>
                </c:pt>
                <c:pt idx="272">
                  <c:v>22-IX.</c:v>
                </c:pt>
                <c:pt idx="273">
                  <c:v>23-IX.</c:v>
                </c:pt>
                <c:pt idx="274">
                  <c:v>24-IX.</c:v>
                </c:pt>
                <c:pt idx="275">
                  <c:v>25-IX.</c:v>
                </c:pt>
                <c:pt idx="276">
                  <c:v>26-IX.</c:v>
                </c:pt>
                <c:pt idx="277">
                  <c:v>27-IX.</c:v>
                </c:pt>
                <c:pt idx="278">
                  <c:v>28-IX.</c:v>
                </c:pt>
                <c:pt idx="279">
                  <c:v>29-IX.</c:v>
                </c:pt>
                <c:pt idx="280">
                  <c:v>30-IX.</c:v>
                </c:pt>
                <c:pt idx="281">
                  <c:v>1-X.</c:v>
                </c:pt>
                <c:pt idx="282">
                  <c:v>2-X.</c:v>
                </c:pt>
                <c:pt idx="283">
                  <c:v>3-X.</c:v>
                </c:pt>
                <c:pt idx="284">
                  <c:v>4-X.</c:v>
                </c:pt>
                <c:pt idx="285">
                  <c:v>5-X.</c:v>
                </c:pt>
                <c:pt idx="286">
                  <c:v>6-X.</c:v>
                </c:pt>
                <c:pt idx="287">
                  <c:v>7-X.</c:v>
                </c:pt>
                <c:pt idx="288">
                  <c:v>8-X.</c:v>
                </c:pt>
                <c:pt idx="289">
                  <c:v>9-X.</c:v>
                </c:pt>
                <c:pt idx="290">
                  <c:v>10-X.</c:v>
                </c:pt>
                <c:pt idx="291">
                  <c:v>11-X.</c:v>
                </c:pt>
                <c:pt idx="292">
                  <c:v>12-X.</c:v>
                </c:pt>
                <c:pt idx="293">
                  <c:v>13-X.</c:v>
                </c:pt>
                <c:pt idx="294">
                  <c:v>14-X.</c:v>
                </c:pt>
                <c:pt idx="295">
                  <c:v>15-X.</c:v>
                </c:pt>
                <c:pt idx="296">
                  <c:v>16-X.</c:v>
                </c:pt>
                <c:pt idx="297">
                  <c:v>17-X.</c:v>
                </c:pt>
                <c:pt idx="298">
                  <c:v>18-X.</c:v>
                </c:pt>
                <c:pt idx="299">
                  <c:v>19-X.</c:v>
                </c:pt>
                <c:pt idx="300">
                  <c:v>20-X.</c:v>
                </c:pt>
                <c:pt idx="301">
                  <c:v>21-X.</c:v>
                </c:pt>
              </c:strCache>
            </c:strRef>
          </c:cat>
          <c:val>
            <c:numRef>
              <c:f>List1!$F$4:$KU$4</c:f>
              <c:numCache>
                <c:formatCode>General</c:formatCode>
                <c:ptCount val="302"/>
                <c:pt idx="3">
                  <c:v>195</c:v>
                </c:pt>
                <c:pt idx="4">
                  <c:v>644</c:v>
                </c:pt>
                <c:pt idx="5">
                  <c:v>1251</c:v>
                </c:pt>
                <c:pt idx="6">
                  <c:v>1876</c:v>
                </c:pt>
                <c:pt idx="7">
                  <c:v>2049</c:v>
                </c:pt>
                <c:pt idx="8">
                  <c:v>2079</c:v>
                </c:pt>
                <c:pt idx="9">
                  <c:v>2368</c:v>
                </c:pt>
                <c:pt idx="10">
                  <c:v>2579</c:v>
                </c:pt>
                <c:pt idx="11">
                  <c:v>3204</c:v>
                </c:pt>
                <c:pt idx="12">
                  <c:v>4167</c:v>
                </c:pt>
                <c:pt idx="13">
                  <c:v>5586</c:v>
                </c:pt>
                <c:pt idx="14">
                  <c:v>7185</c:v>
                </c:pt>
                <c:pt idx="15">
                  <c:v>9029</c:v>
                </c:pt>
                <c:pt idx="16">
                  <c:v>9336</c:v>
                </c:pt>
                <c:pt idx="17">
                  <c:v>9643</c:v>
                </c:pt>
                <c:pt idx="18">
                  <c:v>11510</c:v>
                </c:pt>
                <c:pt idx="19">
                  <c:v>13800</c:v>
                </c:pt>
                <c:pt idx="20">
                  <c:v>15836</c:v>
                </c:pt>
                <c:pt idx="21">
                  <c:v>17716</c:v>
                </c:pt>
                <c:pt idx="22">
                  <c:v>19323</c:v>
                </c:pt>
                <c:pt idx="23">
                  <c:v>19540</c:v>
                </c:pt>
                <c:pt idx="24">
                  <c:v>19637</c:v>
                </c:pt>
                <c:pt idx="25">
                  <c:v>20809</c:v>
                </c:pt>
                <c:pt idx="26">
                  <c:v>21747</c:v>
                </c:pt>
                <c:pt idx="27">
                  <c:v>22685</c:v>
                </c:pt>
                <c:pt idx="28">
                  <c:v>23543</c:v>
                </c:pt>
                <c:pt idx="29">
                  <c:v>24290</c:v>
                </c:pt>
                <c:pt idx="30">
                  <c:v>24353</c:v>
                </c:pt>
                <c:pt idx="31">
                  <c:v>24397</c:v>
                </c:pt>
                <c:pt idx="32">
                  <c:v>24845</c:v>
                </c:pt>
                <c:pt idx="33">
                  <c:v>25298</c:v>
                </c:pt>
                <c:pt idx="34">
                  <c:v>25694</c:v>
                </c:pt>
                <c:pt idx="35">
                  <c:v>26094</c:v>
                </c:pt>
                <c:pt idx="36">
                  <c:v>26480</c:v>
                </c:pt>
                <c:pt idx="37">
                  <c:v>26504</c:v>
                </c:pt>
                <c:pt idx="38">
                  <c:v>26537</c:v>
                </c:pt>
                <c:pt idx="39">
                  <c:v>26831</c:v>
                </c:pt>
                <c:pt idx="40">
                  <c:v>27119</c:v>
                </c:pt>
                <c:pt idx="41">
                  <c:v>27353</c:v>
                </c:pt>
                <c:pt idx="42">
                  <c:v>27534</c:v>
                </c:pt>
                <c:pt idx="43">
                  <c:v>27769</c:v>
                </c:pt>
                <c:pt idx="44">
                  <c:v>27778</c:v>
                </c:pt>
                <c:pt idx="45">
                  <c:v>27796</c:v>
                </c:pt>
                <c:pt idx="46">
                  <c:v>28033</c:v>
                </c:pt>
                <c:pt idx="47">
                  <c:v>28228</c:v>
                </c:pt>
                <c:pt idx="48">
                  <c:v>28495</c:v>
                </c:pt>
                <c:pt idx="49">
                  <c:v>28845</c:v>
                </c:pt>
                <c:pt idx="50">
                  <c:v>29235</c:v>
                </c:pt>
                <c:pt idx="51">
                  <c:v>29344</c:v>
                </c:pt>
                <c:pt idx="52">
                  <c:v>29410</c:v>
                </c:pt>
                <c:pt idx="53">
                  <c:v>29826</c:v>
                </c:pt>
                <c:pt idx="54">
                  <c:v>30335</c:v>
                </c:pt>
                <c:pt idx="55">
                  <c:v>30879</c:v>
                </c:pt>
                <c:pt idx="56">
                  <c:v>31436</c:v>
                </c:pt>
                <c:pt idx="57">
                  <c:v>32086</c:v>
                </c:pt>
                <c:pt idx="58">
                  <c:v>32311</c:v>
                </c:pt>
                <c:pt idx="59">
                  <c:v>32367</c:v>
                </c:pt>
                <c:pt idx="60">
                  <c:v>33052</c:v>
                </c:pt>
                <c:pt idx="61">
                  <c:v>34050</c:v>
                </c:pt>
                <c:pt idx="62">
                  <c:v>35129</c:v>
                </c:pt>
                <c:pt idx="63">
                  <c:v>36279</c:v>
                </c:pt>
                <c:pt idx="64">
                  <c:v>37356</c:v>
                </c:pt>
                <c:pt idx="65">
                  <c:v>37514</c:v>
                </c:pt>
                <c:pt idx="66">
                  <c:v>37642</c:v>
                </c:pt>
                <c:pt idx="67">
                  <c:v>38756</c:v>
                </c:pt>
                <c:pt idx="68">
                  <c:v>39970</c:v>
                </c:pt>
                <c:pt idx="69">
                  <c:v>41080</c:v>
                </c:pt>
                <c:pt idx="70">
                  <c:v>42081</c:v>
                </c:pt>
                <c:pt idx="71">
                  <c:v>43266</c:v>
                </c:pt>
                <c:pt idx="72">
                  <c:v>43554</c:v>
                </c:pt>
                <c:pt idx="73">
                  <c:v>43767</c:v>
                </c:pt>
                <c:pt idx="74">
                  <c:v>44611</c:v>
                </c:pt>
                <c:pt idx="75">
                  <c:v>45428</c:v>
                </c:pt>
                <c:pt idx="76">
                  <c:v>46322</c:v>
                </c:pt>
                <c:pt idx="77">
                  <c:v>47518</c:v>
                </c:pt>
                <c:pt idx="78">
                  <c:v>48623</c:v>
                </c:pt>
                <c:pt idx="79">
                  <c:v>48908</c:v>
                </c:pt>
                <c:pt idx="80">
                  <c:v>49148</c:v>
                </c:pt>
                <c:pt idx="81">
                  <c:v>49775</c:v>
                </c:pt>
                <c:pt idx="82">
                  <c:v>50702</c:v>
                </c:pt>
                <c:pt idx="83">
                  <c:v>51641</c:v>
                </c:pt>
                <c:pt idx="84">
                  <c:v>52419</c:v>
                </c:pt>
                <c:pt idx="85">
                  <c:v>53373</c:v>
                </c:pt>
                <c:pt idx="86">
                  <c:v>53775</c:v>
                </c:pt>
                <c:pt idx="87">
                  <c:v>53982</c:v>
                </c:pt>
                <c:pt idx="88">
                  <c:v>54433</c:v>
                </c:pt>
                <c:pt idx="89">
                  <c:v>54925</c:v>
                </c:pt>
                <c:pt idx="90">
                  <c:v>55340</c:v>
                </c:pt>
                <c:pt idx="91">
                  <c:v>55889</c:v>
                </c:pt>
                <c:pt idx="92">
                  <c:v>56465</c:v>
                </c:pt>
                <c:pt idx="93">
                  <c:v>56624</c:v>
                </c:pt>
                <c:pt idx="94">
                  <c:v>56757</c:v>
                </c:pt>
                <c:pt idx="95">
                  <c:v>57068</c:v>
                </c:pt>
                <c:pt idx="96">
                  <c:v>57489</c:v>
                </c:pt>
                <c:pt idx="97">
                  <c:v>57986</c:v>
                </c:pt>
                <c:pt idx="98">
                  <c:v>58415</c:v>
                </c:pt>
                <c:pt idx="99">
                  <c:v>58503</c:v>
                </c:pt>
                <c:pt idx="100">
                  <c:v>58561</c:v>
                </c:pt>
                <c:pt idx="101">
                  <c:v>58599</c:v>
                </c:pt>
                <c:pt idx="102">
                  <c:v>58628</c:v>
                </c:pt>
                <c:pt idx="103">
                  <c:v>58862</c:v>
                </c:pt>
                <c:pt idx="104">
                  <c:v>59123</c:v>
                </c:pt>
                <c:pt idx="105">
                  <c:v>59660</c:v>
                </c:pt>
                <c:pt idx="106">
                  <c:v>60160</c:v>
                </c:pt>
                <c:pt idx="107">
                  <c:v>60332</c:v>
                </c:pt>
                <c:pt idx="108">
                  <c:v>60447</c:v>
                </c:pt>
                <c:pt idx="109">
                  <c:v>60821</c:v>
                </c:pt>
                <c:pt idx="110">
                  <c:v>61134</c:v>
                </c:pt>
                <c:pt idx="111">
                  <c:v>61518</c:v>
                </c:pt>
                <c:pt idx="112">
                  <c:v>62071</c:v>
                </c:pt>
                <c:pt idx="113">
                  <c:v>62715</c:v>
                </c:pt>
                <c:pt idx="114">
                  <c:v>62891</c:v>
                </c:pt>
                <c:pt idx="115">
                  <c:v>63086</c:v>
                </c:pt>
                <c:pt idx="116">
                  <c:v>63537</c:v>
                </c:pt>
                <c:pt idx="117">
                  <c:v>63963</c:v>
                </c:pt>
                <c:pt idx="118">
                  <c:v>64459</c:v>
                </c:pt>
                <c:pt idx="119">
                  <c:v>65060</c:v>
                </c:pt>
                <c:pt idx="120">
                  <c:v>65705</c:v>
                </c:pt>
                <c:pt idx="121">
                  <c:v>65885</c:v>
                </c:pt>
                <c:pt idx="122">
                  <c:v>66035</c:v>
                </c:pt>
                <c:pt idx="123">
                  <c:v>66519</c:v>
                </c:pt>
                <c:pt idx="124">
                  <c:v>66945</c:v>
                </c:pt>
                <c:pt idx="125">
                  <c:v>67506</c:v>
                </c:pt>
                <c:pt idx="126">
                  <c:v>68091</c:v>
                </c:pt>
                <c:pt idx="127">
                  <c:v>68709</c:v>
                </c:pt>
                <c:pt idx="128">
                  <c:v>68863</c:v>
                </c:pt>
                <c:pt idx="129">
                  <c:v>69019</c:v>
                </c:pt>
                <c:pt idx="130">
                  <c:v>69474</c:v>
                </c:pt>
                <c:pt idx="131">
                  <c:v>69927</c:v>
                </c:pt>
                <c:pt idx="132">
                  <c:v>70448</c:v>
                </c:pt>
                <c:pt idx="133">
                  <c:v>70974</c:v>
                </c:pt>
                <c:pt idx="134">
                  <c:v>71534</c:v>
                </c:pt>
                <c:pt idx="135">
                  <c:v>71753</c:v>
                </c:pt>
                <c:pt idx="136">
                  <c:v>71924</c:v>
                </c:pt>
                <c:pt idx="137">
                  <c:v>72400</c:v>
                </c:pt>
                <c:pt idx="138">
                  <c:v>72832</c:v>
                </c:pt>
                <c:pt idx="139">
                  <c:v>73306</c:v>
                </c:pt>
                <c:pt idx="140">
                  <c:v>73846</c:v>
                </c:pt>
                <c:pt idx="141">
                  <c:v>74345</c:v>
                </c:pt>
                <c:pt idx="142">
                  <c:v>74555</c:v>
                </c:pt>
                <c:pt idx="143">
                  <c:v>74705</c:v>
                </c:pt>
                <c:pt idx="144">
                  <c:v>75088</c:v>
                </c:pt>
                <c:pt idx="145">
                  <c:v>75500</c:v>
                </c:pt>
                <c:pt idx="146">
                  <c:v>75956</c:v>
                </c:pt>
                <c:pt idx="147">
                  <c:v>76394</c:v>
                </c:pt>
                <c:pt idx="148">
                  <c:v>76845</c:v>
                </c:pt>
                <c:pt idx="149">
                  <c:v>77021</c:v>
                </c:pt>
                <c:pt idx="150">
                  <c:v>77136</c:v>
                </c:pt>
                <c:pt idx="151">
                  <c:v>77424</c:v>
                </c:pt>
                <c:pt idx="152">
                  <c:v>77750</c:v>
                </c:pt>
                <c:pt idx="153">
                  <c:v>78157</c:v>
                </c:pt>
                <c:pt idx="154">
                  <c:v>78525</c:v>
                </c:pt>
                <c:pt idx="155">
                  <c:v>78957</c:v>
                </c:pt>
                <c:pt idx="156">
                  <c:v>79141</c:v>
                </c:pt>
                <c:pt idx="157">
                  <c:v>79307</c:v>
                </c:pt>
                <c:pt idx="158">
                  <c:v>79643</c:v>
                </c:pt>
                <c:pt idx="159">
                  <c:v>80013</c:v>
                </c:pt>
                <c:pt idx="160">
                  <c:v>80462</c:v>
                </c:pt>
                <c:pt idx="161">
                  <c:v>80876</c:v>
                </c:pt>
                <c:pt idx="162">
                  <c:v>81333</c:v>
                </c:pt>
                <c:pt idx="163">
                  <c:v>81589</c:v>
                </c:pt>
                <c:pt idx="164">
                  <c:v>81825</c:v>
                </c:pt>
                <c:pt idx="165">
                  <c:v>82297</c:v>
                </c:pt>
                <c:pt idx="166">
                  <c:v>82836</c:v>
                </c:pt>
                <c:pt idx="167">
                  <c:v>83318</c:v>
                </c:pt>
                <c:pt idx="168">
                  <c:v>83749</c:v>
                </c:pt>
                <c:pt idx="169">
                  <c:v>84203</c:v>
                </c:pt>
                <c:pt idx="170">
                  <c:v>84488</c:v>
                </c:pt>
                <c:pt idx="171">
                  <c:v>84711</c:v>
                </c:pt>
                <c:pt idx="172">
                  <c:v>85068</c:v>
                </c:pt>
                <c:pt idx="173">
                  <c:v>85487</c:v>
                </c:pt>
                <c:pt idx="174">
                  <c:v>85876</c:v>
                </c:pt>
                <c:pt idx="175">
                  <c:v>86240</c:v>
                </c:pt>
                <c:pt idx="176">
                  <c:v>86612</c:v>
                </c:pt>
                <c:pt idx="177">
                  <c:v>86798</c:v>
                </c:pt>
                <c:pt idx="178">
                  <c:v>86937</c:v>
                </c:pt>
                <c:pt idx="179">
                  <c:v>87228</c:v>
                </c:pt>
                <c:pt idx="180">
                  <c:v>87545</c:v>
                </c:pt>
                <c:pt idx="181">
                  <c:v>87796</c:v>
                </c:pt>
                <c:pt idx="182">
                  <c:v>88084</c:v>
                </c:pt>
                <c:pt idx="183">
                  <c:v>88337</c:v>
                </c:pt>
                <c:pt idx="184">
                  <c:v>88486</c:v>
                </c:pt>
                <c:pt idx="185">
                  <c:v>88593</c:v>
                </c:pt>
                <c:pt idx="186">
                  <c:v>88861</c:v>
                </c:pt>
                <c:pt idx="187">
                  <c:v>89103</c:v>
                </c:pt>
                <c:pt idx="188">
                  <c:v>89341</c:v>
                </c:pt>
                <c:pt idx="189">
                  <c:v>89519</c:v>
                </c:pt>
                <c:pt idx="190">
                  <c:v>89751</c:v>
                </c:pt>
                <c:pt idx="191">
                  <c:v>89804</c:v>
                </c:pt>
                <c:pt idx="192">
                  <c:v>89862</c:v>
                </c:pt>
                <c:pt idx="193">
                  <c:v>89918</c:v>
                </c:pt>
                <c:pt idx="194">
                  <c:v>89975</c:v>
                </c:pt>
                <c:pt idx="195">
                  <c:v>90182</c:v>
                </c:pt>
                <c:pt idx="196">
                  <c:v>90397</c:v>
                </c:pt>
                <c:pt idx="197">
                  <c:v>90620</c:v>
                </c:pt>
                <c:pt idx="198">
                  <c:v>90712</c:v>
                </c:pt>
                <c:pt idx="199">
                  <c:v>90770</c:v>
                </c:pt>
                <c:pt idx="200">
                  <c:v>91005</c:v>
                </c:pt>
                <c:pt idx="201">
                  <c:v>91225</c:v>
                </c:pt>
                <c:pt idx="202">
                  <c:v>91458</c:v>
                </c:pt>
                <c:pt idx="203">
                  <c:v>91704</c:v>
                </c:pt>
                <c:pt idx="204">
                  <c:v>91951</c:v>
                </c:pt>
                <c:pt idx="205">
                  <c:v>92059</c:v>
                </c:pt>
                <c:pt idx="206">
                  <c:v>92128</c:v>
                </c:pt>
                <c:pt idx="207">
                  <c:v>92329</c:v>
                </c:pt>
                <c:pt idx="208">
                  <c:v>92489</c:v>
                </c:pt>
                <c:pt idx="209">
                  <c:v>92706</c:v>
                </c:pt>
                <c:pt idx="210">
                  <c:v>92886</c:v>
                </c:pt>
                <c:pt idx="211">
                  <c:v>93096</c:v>
                </c:pt>
                <c:pt idx="212">
                  <c:v>93158</c:v>
                </c:pt>
                <c:pt idx="213">
                  <c:v>93211</c:v>
                </c:pt>
                <c:pt idx="214">
                  <c:v>93390</c:v>
                </c:pt>
                <c:pt idx="215">
                  <c:v>93589</c:v>
                </c:pt>
                <c:pt idx="216">
                  <c:v>93762</c:v>
                </c:pt>
                <c:pt idx="217">
                  <c:v>93920</c:v>
                </c:pt>
                <c:pt idx="218">
                  <c:v>94126</c:v>
                </c:pt>
                <c:pt idx="219">
                  <c:v>94192</c:v>
                </c:pt>
                <c:pt idx="220">
                  <c:v>94240</c:v>
                </c:pt>
                <c:pt idx="221">
                  <c:v>94385</c:v>
                </c:pt>
                <c:pt idx="222">
                  <c:v>94512</c:v>
                </c:pt>
                <c:pt idx="223">
                  <c:v>94657</c:v>
                </c:pt>
                <c:pt idx="224">
                  <c:v>94780</c:v>
                </c:pt>
                <c:pt idx="225">
                  <c:v>94907</c:v>
                </c:pt>
                <c:pt idx="226">
                  <c:v>94944</c:v>
                </c:pt>
                <c:pt idx="227">
                  <c:v>94978</c:v>
                </c:pt>
                <c:pt idx="228">
                  <c:v>95080</c:v>
                </c:pt>
                <c:pt idx="229">
                  <c:v>95194</c:v>
                </c:pt>
                <c:pt idx="230">
                  <c:v>95267</c:v>
                </c:pt>
                <c:pt idx="231">
                  <c:v>95370</c:v>
                </c:pt>
                <c:pt idx="232">
                  <c:v>95472</c:v>
                </c:pt>
                <c:pt idx="233">
                  <c:v>95497</c:v>
                </c:pt>
                <c:pt idx="234">
                  <c:v>95516</c:v>
                </c:pt>
                <c:pt idx="235">
                  <c:v>95596</c:v>
                </c:pt>
                <c:pt idx="236">
                  <c:v>95675</c:v>
                </c:pt>
                <c:pt idx="237">
                  <c:v>95752</c:v>
                </c:pt>
                <c:pt idx="238">
                  <c:v>95822</c:v>
                </c:pt>
                <c:pt idx="239">
                  <c:v>95919</c:v>
                </c:pt>
                <c:pt idx="240">
                  <c:v>95937</c:v>
                </c:pt>
                <c:pt idx="241">
                  <c:v>95954</c:v>
                </c:pt>
                <c:pt idx="242">
                  <c:v>96046</c:v>
                </c:pt>
                <c:pt idx="243">
                  <c:v>96122</c:v>
                </c:pt>
                <c:pt idx="244">
                  <c:v>96197</c:v>
                </c:pt>
                <c:pt idx="245">
                  <c:v>96258</c:v>
                </c:pt>
                <c:pt idx="246">
                  <c:v>96358</c:v>
                </c:pt>
                <c:pt idx="247">
                  <c:v>96382</c:v>
                </c:pt>
                <c:pt idx="248">
                  <c:v>96392</c:v>
                </c:pt>
                <c:pt idx="249">
                  <c:v>96469</c:v>
                </c:pt>
                <c:pt idx="250">
                  <c:v>96547</c:v>
                </c:pt>
                <c:pt idx="251">
                  <c:v>96593</c:v>
                </c:pt>
                <c:pt idx="252">
                  <c:v>96666</c:v>
                </c:pt>
                <c:pt idx="253">
                  <c:v>96760</c:v>
                </c:pt>
                <c:pt idx="254">
                  <c:v>96775</c:v>
                </c:pt>
                <c:pt idx="255">
                  <c:v>96793</c:v>
                </c:pt>
                <c:pt idx="256">
                  <c:v>96857</c:v>
                </c:pt>
                <c:pt idx="257">
                  <c:v>96892</c:v>
                </c:pt>
                <c:pt idx="258">
                  <c:v>96945</c:v>
                </c:pt>
                <c:pt idx="259">
                  <c:v>97003</c:v>
                </c:pt>
                <c:pt idx="260">
                  <c:v>97071</c:v>
                </c:pt>
                <c:pt idx="261">
                  <c:v>97086</c:v>
                </c:pt>
                <c:pt idx="262">
                  <c:v>97099</c:v>
                </c:pt>
                <c:pt idx="263">
                  <c:v>97147</c:v>
                </c:pt>
                <c:pt idx="264">
                  <c:v>97198</c:v>
                </c:pt>
                <c:pt idx="265">
                  <c:v>97242</c:v>
                </c:pt>
                <c:pt idx="266">
                  <c:v>97288</c:v>
                </c:pt>
                <c:pt idx="267">
                  <c:v>97360</c:v>
                </c:pt>
                <c:pt idx="268">
                  <c:v>97379</c:v>
                </c:pt>
                <c:pt idx="269">
                  <c:v>97384</c:v>
                </c:pt>
                <c:pt idx="270">
                  <c:v>97427</c:v>
                </c:pt>
                <c:pt idx="271">
                  <c:v>97471</c:v>
                </c:pt>
                <c:pt idx="272">
                  <c:v>97512</c:v>
                </c:pt>
                <c:pt idx="273">
                  <c:v>97568</c:v>
                </c:pt>
                <c:pt idx="274">
                  <c:v>97637</c:v>
                </c:pt>
                <c:pt idx="275">
                  <c:v>97652</c:v>
                </c:pt>
                <c:pt idx="276">
                  <c:v>97658</c:v>
                </c:pt>
                <c:pt idx="277">
                  <c:v>97698</c:v>
                </c:pt>
                <c:pt idx="278">
                  <c:v>97702</c:v>
                </c:pt>
                <c:pt idx="279">
                  <c:v>97726</c:v>
                </c:pt>
                <c:pt idx="280">
                  <c:v>97769</c:v>
                </c:pt>
                <c:pt idx="281">
                  <c:v>97805</c:v>
                </c:pt>
                <c:pt idx="282">
                  <c:v>97813</c:v>
                </c:pt>
                <c:pt idx="283">
                  <c:v>97820</c:v>
                </c:pt>
                <c:pt idx="284">
                  <c:v>97849</c:v>
                </c:pt>
                <c:pt idx="285">
                  <c:v>97872</c:v>
                </c:pt>
                <c:pt idx="286">
                  <c:v>97907</c:v>
                </c:pt>
                <c:pt idx="287">
                  <c:v>97930</c:v>
                </c:pt>
                <c:pt idx="288">
                  <c:v>97978</c:v>
                </c:pt>
                <c:pt idx="289">
                  <c:v>97987</c:v>
                </c:pt>
                <c:pt idx="290">
                  <c:v>97993</c:v>
                </c:pt>
                <c:pt idx="291">
                  <c:v>98019</c:v>
                </c:pt>
                <c:pt idx="292">
                  <c:v>98061</c:v>
                </c:pt>
                <c:pt idx="293">
                  <c:v>98091</c:v>
                </c:pt>
                <c:pt idx="294">
                  <c:v>98114</c:v>
                </c:pt>
                <c:pt idx="295">
                  <c:v>98169</c:v>
                </c:pt>
                <c:pt idx="296">
                  <c:v>98186</c:v>
                </c:pt>
                <c:pt idx="297">
                  <c:v>98197</c:v>
                </c:pt>
                <c:pt idx="298">
                  <c:v>98253</c:v>
                </c:pt>
                <c:pt idx="299">
                  <c:v>98283</c:v>
                </c:pt>
                <c:pt idx="300">
                  <c:v>98338</c:v>
                </c:pt>
                <c:pt idx="301">
                  <c:v>9842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9B2-46E3-85FE-A83BCF6CC085}"/>
            </c:ext>
          </c:extLst>
        </c:ser>
        <c:ser>
          <c:idx val="3"/>
          <c:order val="3"/>
          <c:tx>
            <c:strRef>
              <c:f>List1!$A$5</c:f>
              <c:strCache>
                <c:ptCount val="1"/>
                <c:pt idx="0">
                  <c:v>Lékaři</c:v>
                </c:pt>
              </c:strCache>
            </c:strRef>
          </c:tx>
          <c:spPr>
            <a:ln w="28575" cap="rnd">
              <a:solidFill>
                <a:srgbClr val="4472C4"/>
              </a:solidFill>
              <a:round/>
            </a:ln>
            <a:effectLst/>
          </c:spPr>
          <c:marker>
            <c:symbol val="none"/>
          </c:marker>
          <c:cat>
            <c:strRef>
              <c:f>List1!$F$1:$KU$1</c:f>
              <c:strCache>
                <c:ptCount val="302"/>
                <c:pt idx="0">
                  <c:v>24-XII.</c:v>
                </c:pt>
                <c:pt idx="1">
                  <c:v>25-XII.</c:v>
                </c:pt>
                <c:pt idx="2">
                  <c:v>26-XII.</c:v>
                </c:pt>
                <c:pt idx="3">
                  <c:v>27-XII.</c:v>
                </c:pt>
                <c:pt idx="4">
                  <c:v>28-XII.</c:v>
                </c:pt>
                <c:pt idx="5">
                  <c:v>29-XII.</c:v>
                </c:pt>
                <c:pt idx="6">
                  <c:v>30-XII.</c:v>
                </c:pt>
                <c:pt idx="7">
                  <c:v>31-XII.</c:v>
                </c:pt>
                <c:pt idx="8">
                  <c:v>1-I.</c:v>
                </c:pt>
                <c:pt idx="9">
                  <c:v>2-I.</c:v>
                </c:pt>
                <c:pt idx="10">
                  <c:v>3-I.</c:v>
                </c:pt>
                <c:pt idx="11">
                  <c:v>4-I.</c:v>
                </c:pt>
                <c:pt idx="12">
                  <c:v>5-I.</c:v>
                </c:pt>
                <c:pt idx="13">
                  <c:v>6-I.</c:v>
                </c:pt>
                <c:pt idx="14">
                  <c:v>7-I.</c:v>
                </c:pt>
                <c:pt idx="15">
                  <c:v>8-I.</c:v>
                </c:pt>
                <c:pt idx="16">
                  <c:v>9-I.</c:v>
                </c:pt>
                <c:pt idx="17">
                  <c:v>10-I.</c:v>
                </c:pt>
                <c:pt idx="18">
                  <c:v>11-I.</c:v>
                </c:pt>
                <c:pt idx="19">
                  <c:v>12-I.</c:v>
                </c:pt>
                <c:pt idx="20">
                  <c:v>13-I.</c:v>
                </c:pt>
                <c:pt idx="21">
                  <c:v>14-I.</c:v>
                </c:pt>
                <c:pt idx="22">
                  <c:v>15-I.</c:v>
                </c:pt>
                <c:pt idx="23">
                  <c:v>16-I.</c:v>
                </c:pt>
                <c:pt idx="24">
                  <c:v>17-I.</c:v>
                </c:pt>
                <c:pt idx="25">
                  <c:v>18-I.</c:v>
                </c:pt>
                <c:pt idx="26">
                  <c:v>19-I.</c:v>
                </c:pt>
                <c:pt idx="27">
                  <c:v>20-I.</c:v>
                </c:pt>
                <c:pt idx="28">
                  <c:v>21-I.</c:v>
                </c:pt>
                <c:pt idx="29">
                  <c:v>22-I.</c:v>
                </c:pt>
                <c:pt idx="30">
                  <c:v>23-I.</c:v>
                </c:pt>
                <c:pt idx="31">
                  <c:v>24-I.</c:v>
                </c:pt>
                <c:pt idx="32">
                  <c:v>25-I.</c:v>
                </c:pt>
                <c:pt idx="33">
                  <c:v>26-I.</c:v>
                </c:pt>
                <c:pt idx="34">
                  <c:v>27-I.</c:v>
                </c:pt>
                <c:pt idx="35">
                  <c:v>28-I.</c:v>
                </c:pt>
                <c:pt idx="36">
                  <c:v>29-I.</c:v>
                </c:pt>
                <c:pt idx="37">
                  <c:v>30-I.</c:v>
                </c:pt>
                <c:pt idx="38">
                  <c:v>31-I.</c:v>
                </c:pt>
                <c:pt idx="39">
                  <c:v>1-II.</c:v>
                </c:pt>
                <c:pt idx="40">
                  <c:v>2-II.</c:v>
                </c:pt>
                <c:pt idx="41">
                  <c:v>3-II.</c:v>
                </c:pt>
                <c:pt idx="42">
                  <c:v>4-II.</c:v>
                </c:pt>
                <c:pt idx="43">
                  <c:v>5-II.</c:v>
                </c:pt>
                <c:pt idx="44">
                  <c:v>6-II.</c:v>
                </c:pt>
                <c:pt idx="45">
                  <c:v>7-II.</c:v>
                </c:pt>
                <c:pt idx="46">
                  <c:v>8-II.</c:v>
                </c:pt>
                <c:pt idx="47">
                  <c:v>9-II.</c:v>
                </c:pt>
                <c:pt idx="48">
                  <c:v>10-II.</c:v>
                </c:pt>
                <c:pt idx="49">
                  <c:v>11-II.</c:v>
                </c:pt>
                <c:pt idx="50">
                  <c:v>12-II.</c:v>
                </c:pt>
                <c:pt idx="51">
                  <c:v>13-II.</c:v>
                </c:pt>
                <c:pt idx="52">
                  <c:v>14-II.</c:v>
                </c:pt>
                <c:pt idx="53">
                  <c:v>15-II.</c:v>
                </c:pt>
                <c:pt idx="54">
                  <c:v>16-II.</c:v>
                </c:pt>
                <c:pt idx="55">
                  <c:v>17-II.</c:v>
                </c:pt>
                <c:pt idx="56">
                  <c:v>18-II.</c:v>
                </c:pt>
                <c:pt idx="57">
                  <c:v>19-II.</c:v>
                </c:pt>
                <c:pt idx="58">
                  <c:v>20-II.</c:v>
                </c:pt>
                <c:pt idx="59">
                  <c:v>21-II.</c:v>
                </c:pt>
                <c:pt idx="60">
                  <c:v>22-II.</c:v>
                </c:pt>
                <c:pt idx="61">
                  <c:v>23-II.</c:v>
                </c:pt>
                <c:pt idx="62">
                  <c:v>24-II.</c:v>
                </c:pt>
                <c:pt idx="63">
                  <c:v>25-II.</c:v>
                </c:pt>
                <c:pt idx="64">
                  <c:v>26-II.</c:v>
                </c:pt>
                <c:pt idx="65">
                  <c:v>27-II.</c:v>
                </c:pt>
                <c:pt idx="66">
                  <c:v>28-II.</c:v>
                </c:pt>
                <c:pt idx="67">
                  <c:v>1-III.</c:v>
                </c:pt>
                <c:pt idx="68">
                  <c:v>2-III.</c:v>
                </c:pt>
                <c:pt idx="69">
                  <c:v>3-III.</c:v>
                </c:pt>
                <c:pt idx="70">
                  <c:v>4-III.</c:v>
                </c:pt>
                <c:pt idx="71">
                  <c:v>5-III.</c:v>
                </c:pt>
                <c:pt idx="72">
                  <c:v>6-III.</c:v>
                </c:pt>
                <c:pt idx="73">
                  <c:v>7-III.</c:v>
                </c:pt>
                <c:pt idx="74">
                  <c:v>8-III.</c:v>
                </c:pt>
                <c:pt idx="75">
                  <c:v>9-III.</c:v>
                </c:pt>
                <c:pt idx="76">
                  <c:v>10-III.</c:v>
                </c:pt>
                <c:pt idx="77">
                  <c:v>11-III.</c:v>
                </c:pt>
                <c:pt idx="78">
                  <c:v>12-III.</c:v>
                </c:pt>
                <c:pt idx="79">
                  <c:v>13-III.</c:v>
                </c:pt>
                <c:pt idx="80">
                  <c:v>14-III.</c:v>
                </c:pt>
                <c:pt idx="81">
                  <c:v>15-III.</c:v>
                </c:pt>
                <c:pt idx="82">
                  <c:v>16-III.</c:v>
                </c:pt>
                <c:pt idx="83">
                  <c:v>17-III.</c:v>
                </c:pt>
                <c:pt idx="84">
                  <c:v>18-III.</c:v>
                </c:pt>
                <c:pt idx="85">
                  <c:v>19-III.</c:v>
                </c:pt>
                <c:pt idx="86">
                  <c:v>20-III.</c:v>
                </c:pt>
                <c:pt idx="87">
                  <c:v>21-III.</c:v>
                </c:pt>
                <c:pt idx="88">
                  <c:v>22-III.</c:v>
                </c:pt>
                <c:pt idx="89">
                  <c:v>23-III.</c:v>
                </c:pt>
                <c:pt idx="90">
                  <c:v>24-III.</c:v>
                </c:pt>
                <c:pt idx="91">
                  <c:v>25-III.</c:v>
                </c:pt>
                <c:pt idx="92">
                  <c:v>26-III.</c:v>
                </c:pt>
                <c:pt idx="93">
                  <c:v>27-III.</c:v>
                </c:pt>
                <c:pt idx="94">
                  <c:v>28-III.</c:v>
                </c:pt>
                <c:pt idx="95">
                  <c:v>29-III.</c:v>
                </c:pt>
                <c:pt idx="96">
                  <c:v>30-III.</c:v>
                </c:pt>
                <c:pt idx="97">
                  <c:v>31-III.</c:v>
                </c:pt>
                <c:pt idx="98">
                  <c:v>1-IV.</c:v>
                </c:pt>
                <c:pt idx="99">
                  <c:v>2-IV.</c:v>
                </c:pt>
                <c:pt idx="100">
                  <c:v>3-IV.</c:v>
                </c:pt>
                <c:pt idx="101">
                  <c:v>4-IV.</c:v>
                </c:pt>
                <c:pt idx="102">
                  <c:v>5-IV.</c:v>
                </c:pt>
                <c:pt idx="103">
                  <c:v>6-IV.</c:v>
                </c:pt>
                <c:pt idx="104">
                  <c:v>7-IV.</c:v>
                </c:pt>
                <c:pt idx="105">
                  <c:v>8-IV.</c:v>
                </c:pt>
                <c:pt idx="106">
                  <c:v>9-IV.</c:v>
                </c:pt>
                <c:pt idx="107">
                  <c:v>10-IV.</c:v>
                </c:pt>
                <c:pt idx="108">
                  <c:v>11-IV.</c:v>
                </c:pt>
                <c:pt idx="109">
                  <c:v>12-IV.</c:v>
                </c:pt>
                <c:pt idx="110">
                  <c:v>13-IV.</c:v>
                </c:pt>
                <c:pt idx="111">
                  <c:v>14-IV.</c:v>
                </c:pt>
                <c:pt idx="112">
                  <c:v>15-IV.</c:v>
                </c:pt>
                <c:pt idx="113">
                  <c:v>16-IV.</c:v>
                </c:pt>
                <c:pt idx="114">
                  <c:v>17-IV.</c:v>
                </c:pt>
                <c:pt idx="115">
                  <c:v>18-IV.</c:v>
                </c:pt>
                <c:pt idx="116">
                  <c:v>19-IV.</c:v>
                </c:pt>
                <c:pt idx="117">
                  <c:v>20-IV.</c:v>
                </c:pt>
                <c:pt idx="118">
                  <c:v>21-IV.</c:v>
                </c:pt>
                <c:pt idx="119">
                  <c:v>22-IV.</c:v>
                </c:pt>
                <c:pt idx="120">
                  <c:v>23-IV.</c:v>
                </c:pt>
                <c:pt idx="121">
                  <c:v>24-IV.</c:v>
                </c:pt>
                <c:pt idx="122">
                  <c:v>25-IV.</c:v>
                </c:pt>
                <c:pt idx="123">
                  <c:v>26-IV.</c:v>
                </c:pt>
                <c:pt idx="124">
                  <c:v>27-IV.</c:v>
                </c:pt>
                <c:pt idx="125">
                  <c:v>28-IV.</c:v>
                </c:pt>
                <c:pt idx="126">
                  <c:v>29-IV.</c:v>
                </c:pt>
                <c:pt idx="127">
                  <c:v>30-IV.</c:v>
                </c:pt>
                <c:pt idx="128">
                  <c:v>1-V.</c:v>
                </c:pt>
                <c:pt idx="129">
                  <c:v>2-V.</c:v>
                </c:pt>
                <c:pt idx="130">
                  <c:v>3-V.</c:v>
                </c:pt>
                <c:pt idx="131">
                  <c:v>4-V.</c:v>
                </c:pt>
                <c:pt idx="132">
                  <c:v>5-V.</c:v>
                </c:pt>
                <c:pt idx="133">
                  <c:v>6-V.</c:v>
                </c:pt>
                <c:pt idx="134">
                  <c:v>7-V.</c:v>
                </c:pt>
                <c:pt idx="135">
                  <c:v>8-V.</c:v>
                </c:pt>
                <c:pt idx="136">
                  <c:v>9-V.</c:v>
                </c:pt>
                <c:pt idx="137">
                  <c:v>10-V.</c:v>
                </c:pt>
                <c:pt idx="138">
                  <c:v>11-V.</c:v>
                </c:pt>
                <c:pt idx="139">
                  <c:v>12-V.</c:v>
                </c:pt>
                <c:pt idx="140">
                  <c:v>13-V.</c:v>
                </c:pt>
                <c:pt idx="141">
                  <c:v>14-V.</c:v>
                </c:pt>
                <c:pt idx="142">
                  <c:v>15-V.</c:v>
                </c:pt>
                <c:pt idx="143">
                  <c:v>16-V.</c:v>
                </c:pt>
                <c:pt idx="144">
                  <c:v>17-V.</c:v>
                </c:pt>
                <c:pt idx="145">
                  <c:v>18-V.</c:v>
                </c:pt>
                <c:pt idx="146">
                  <c:v>19-V.</c:v>
                </c:pt>
                <c:pt idx="147">
                  <c:v>20-V.</c:v>
                </c:pt>
                <c:pt idx="148">
                  <c:v>21-V.</c:v>
                </c:pt>
                <c:pt idx="149">
                  <c:v>22-V.</c:v>
                </c:pt>
                <c:pt idx="150">
                  <c:v>23-V.</c:v>
                </c:pt>
                <c:pt idx="151">
                  <c:v>24-V.</c:v>
                </c:pt>
                <c:pt idx="152">
                  <c:v>25-V.</c:v>
                </c:pt>
                <c:pt idx="153">
                  <c:v>26-V.</c:v>
                </c:pt>
                <c:pt idx="154">
                  <c:v>27-V.</c:v>
                </c:pt>
                <c:pt idx="155">
                  <c:v>28-V.</c:v>
                </c:pt>
                <c:pt idx="156">
                  <c:v>29-V.</c:v>
                </c:pt>
                <c:pt idx="157">
                  <c:v>30-V.</c:v>
                </c:pt>
                <c:pt idx="158">
                  <c:v>31-V.</c:v>
                </c:pt>
                <c:pt idx="159">
                  <c:v>1-VI.</c:v>
                </c:pt>
                <c:pt idx="160">
                  <c:v>2-VI.</c:v>
                </c:pt>
                <c:pt idx="161">
                  <c:v>3-VI.</c:v>
                </c:pt>
                <c:pt idx="162">
                  <c:v>4-VI.</c:v>
                </c:pt>
                <c:pt idx="163">
                  <c:v>5-VI.</c:v>
                </c:pt>
                <c:pt idx="164">
                  <c:v>6-VI.</c:v>
                </c:pt>
                <c:pt idx="165">
                  <c:v>7-VI.</c:v>
                </c:pt>
                <c:pt idx="166">
                  <c:v>8-VI.</c:v>
                </c:pt>
                <c:pt idx="167">
                  <c:v>9-VI.</c:v>
                </c:pt>
                <c:pt idx="168">
                  <c:v>10-VI.</c:v>
                </c:pt>
                <c:pt idx="169">
                  <c:v>11-VI.</c:v>
                </c:pt>
                <c:pt idx="170">
                  <c:v>12-VI.</c:v>
                </c:pt>
                <c:pt idx="171">
                  <c:v>13-VI.</c:v>
                </c:pt>
                <c:pt idx="172">
                  <c:v>14-VI.</c:v>
                </c:pt>
                <c:pt idx="173">
                  <c:v>15-VI.</c:v>
                </c:pt>
                <c:pt idx="174">
                  <c:v>16-VI.</c:v>
                </c:pt>
                <c:pt idx="175">
                  <c:v>17-VI.</c:v>
                </c:pt>
                <c:pt idx="176">
                  <c:v>18-VI.</c:v>
                </c:pt>
                <c:pt idx="177">
                  <c:v>19-VI.</c:v>
                </c:pt>
                <c:pt idx="178">
                  <c:v>20-VI.</c:v>
                </c:pt>
                <c:pt idx="179">
                  <c:v>21-VI.</c:v>
                </c:pt>
                <c:pt idx="180">
                  <c:v>22-VI.</c:v>
                </c:pt>
                <c:pt idx="181">
                  <c:v>23-VI.</c:v>
                </c:pt>
                <c:pt idx="182">
                  <c:v>24-VI.</c:v>
                </c:pt>
                <c:pt idx="183">
                  <c:v>25-VI.</c:v>
                </c:pt>
                <c:pt idx="184">
                  <c:v>26-VI.</c:v>
                </c:pt>
                <c:pt idx="185">
                  <c:v>27-VI.</c:v>
                </c:pt>
                <c:pt idx="186">
                  <c:v>28-VI.</c:v>
                </c:pt>
                <c:pt idx="187">
                  <c:v>29-VI.</c:v>
                </c:pt>
                <c:pt idx="188">
                  <c:v>30-VI.</c:v>
                </c:pt>
                <c:pt idx="189">
                  <c:v>1-VII.</c:v>
                </c:pt>
                <c:pt idx="190">
                  <c:v>2-VII.</c:v>
                </c:pt>
                <c:pt idx="191">
                  <c:v>3-VII.</c:v>
                </c:pt>
                <c:pt idx="192">
                  <c:v>4-VII.</c:v>
                </c:pt>
                <c:pt idx="193">
                  <c:v>5-VII.</c:v>
                </c:pt>
                <c:pt idx="194">
                  <c:v>6-VII.</c:v>
                </c:pt>
                <c:pt idx="195">
                  <c:v>7-VII.</c:v>
                </c:pt>
                <c:pt idx="196">
                  <c:v>8-VII.</c:v>
                </c:pt>
                <c:pt idx="197">
                  <c:v>9-VII.</c:v>
                </c:pt>
                <c:pt idx="198">
                  <c:v>10-VII.</c:v>
                </c:pt>
                <c:pt idx="199">
                  <c:v>11-VII.</c:v>
                </c:pt>
                <c:pt idx="200">
                  <c:v>12-VII.</c:v>
                </c:pt>
                <c:pt idx="201">
                  <c:v>13-VII.</c:v>
                </c:pt>
                <c:pt idx="202">
                  <c:v>14-VII.</c:v>
                </c:pt>
                <c:pt idx="203">
                  <c:v>15-VII.</c:v>
                </c:pt>
                <c:pt idx="204">
                  <c:v>16-VII.</c:v>
                </c:pt>
                <c:pt idx="205">
                  <c:v>17-VII.</c:v>
                </c:pt>
                <c:pt idx="206">
                  <c:v>18-VII.</c:v>
                </c:pt>
                <c:pt idx="207">
                  <c:v>19-VII.</c:v>
                </c:pt>
                <c:pt idx="208">
                  <c:v>20-VII.</c:v>
                </c:pt>
                <c:pt idx="209">
                  <c:v>21-VII.</c:v>
                </c:pt>
                <c:pt idx="210">
                  <c:v>22-VII.</c:v>
                </c:pt>
                <c:pt idx="211">
                  <c:v>23-VII.</c:v>
                </c:pt>
                <c:pt idx="212">
                  <c:v>24-VII.</c:v>
                </c:pt>
                <c:pt idx="213">
                  <c:v>25-VII.</c:v>
                </c:pt>
                <c:pt idx="214">
                  <c:v>26-VII.</c:v>
                </c:pt>
                <c:pt idx="215">
                  <c:v>27-VII.</c:v>
                </c:pt>
                <c:pt idx="216">
                  <c:v>28-VII.</c:v>
                </c:pt>
                <c:pt idx="217">
                  <c:v>29-VII.</c:v>
                </c:pt>
                <c:pt idx="218">
                  <c:v>30-VII.</c:v>
                </c:pt>
                <c:pt idx="219">
                  <c:v>31-VII.</c:v>
                </c:pt>
                <c:pt idx="220">
                  <c:v>1-VIII.</c:v>
                </c:pt>
                <c:pt idx="221">
                  <c:v>2-VIII.</c:v>
                </c:pt>
                <c:pt idx="222">
                  <c:v>3-VIII.</c:v>
                </c:pt>
                <c:pt idx="223">
                  <c:v>4-VIII.</c:v>
                </c:pt>
                <c:pt idx="224">
                  <c:v>5-VIII.</c:v>
                </c:pt>
                <c:pt idx="225">
                  <c:v>6-VIII.</c:v>
                </c:pt>
                <c:pt idx="226">
                  <c:v>7-VIII.</c:v>
                </c:pt>
                <c:pt idx="227">
                  <c:v>8-VIII.</c:v>
                </c:pt>
                <c:pt idx="228">
                  <c:v>9-VIII.</c:v>
                </c:pt>
                <c:pt idx="229">
                  <c:v>10-VIII.</c:v>
                </c:pt>
                <c:pt idx="230">
                  <c:v>11-VIII.</c:v>
                </c:pt>
                <c:pt idx="231">
                  <c:v>12-VIII.</c:v>
                </c:pt>
                <c:pt idx="232">
                  <c:v>13-VIII.</c:v>
                </c:pt>
                <c:pt idx="233">
                  <c:v>14-VIII.</c:v>
                </c:pt>
                <c:pt idx="234">
                  <c:v>15-VIII.</c:v>
                </c:pt>
                <c:pt idx="235">
                  <c:v>16-VIII.</c:v>
                </c:pt>
                <c:pt idx="236">
                  <c:v>17-VIII.</c:v>
                </c:pt>
                <c:pt idx="237">
                  <c:v>18-VIII.</c:v>
                </c:pt>
                <c:pt idx="238">
                  <c:v>19-VIII.</c:v>
                </c:pt>
                <c:pt idx="239">
                  <c:v>20-VIII.</c:v>
                </c:pt>
                <c:pt idx="240">
                  <c:v>21-VIII.</c:v>
                </c:pt>
                <c:pt idx="241">
                  <c:v>22-VIII.</c:v>
                </c:pt>
                <c:pt idx="242">
                  <c:v>23-VIII.</c:v>
                </c:pt>
                <c:pt idx="243">
                  <c:v>24-VIII.</c:v>
                </c:pt>
                <c:pt idx="244">
                  <c:v>25-VIII.</c:v>
                </c:pt>
                <c:pt idx="245">
                  <c:v>26-VIII.</c:v>
                </c:pt>
                <c:pt idx="246">
                  <c:v>27-VIII.</c:v>
                </c:pt>
                <c:pt idx="247">
                  <c:v>28-VIII.</c:v>
                </c:pt>
                <c:pt idx="248">
                  <c:v>29-VIII.</c:v>
                </c:pt>
                <c:pt idx="249">
                  <c:v>30-VIII.</c:v>
                </c:pt>
                <c:pt idx="250">
                  <c:v>31-VIII.</c:v>
                </c:pt>
                <c:pt idx="251">
                  <c:v>1-IX.</c:v>
                </c:pt>
                <c:pt idx="252">
                  <c:v>2-IX.</c:v>
                </c:pt>
                <c:pt idx="253">
                  <c:v>3-IX.</c:v>
                </c:pt>
                <c:pt idx="254">
                  <c:v>4-IX.</c:v>
                </c:pt>
                <c:pt idx="255">
                  <c:v>5-IX.</c:v>
                </c:pt>
                <c:pt idx="256">
                  <c:v>6-IX.</c:v>
                </c:pt>
                <c:pt idx="257">
                  <c:v>7-IX.</c:v>
                </c:pt>
                <c:pt idx="258">
                  <c:v>8-IX.</c:v>
                </c:pt>
                <c:pt idx="259">
                  <c:v>9-IX.</c:v>
                </c:pt>
                <c:pt idx="260">
                  <c:v>10-IX.</c:v>
                </c:pt>
                <c:pt idx="261">
                  <c:v>11-IX.</c:v>
                </c:pt>
                <c:pt idx="262">
                  <c:v>12-IX.</c:v>
                </c:pt>
                <c:pt idx="263">
                  <c:v>13-IX.</c:v>
                </c:pt>
                <c:pt idx="264">
                  <c:v>14-IX.</c:v>
                </c:pt>
                <c:pt idx="265">
                  <c:v>15-IX.</c:v>
                </c:pt>
                <c:pt idx="266">
                  <c:v>16-IX.</c:v>
                </c:pt>
                <c:pt idx="267">
                  <c:v>17-IX.</c:v>
                </c:pt>
                <c:pt idx="268">
                  <c:v>18-IX.</c:v>
                </c:pt>
                <c:pt idx="269">
                  <c:v>19-IX.</c:v>
                </c:pt>
                <c:pt idx="270">
                  <c:v>20-IX.</c:v>
                </c:pt>
                <c:pt idx="271">
                  <c:v>21-IX.</c:v>
                </c:pt>
                <c:pt idx="272">
                  <c:v>22-IX.</c:v>
                </c:pt>
                <c:pt idx="273">
                  <c:v>23-IX.</c:v>
                </c:pt>
                <c:pt idx="274">
                  <c:v>24-IX.</c:v>
                </c:pt>
                <c:pt idx="275">
                  <c:v>25-IX.</c:v>
                </c:pt>
                <c:pt idx="276">
                  <c:v>26-IX.</c:v>
                </c:pt>
                <c:pt idx="277">
                  <c:v>27-IX.</c:v>
                </c:pt>
                <c:pt idx="278">
                  <c:v>28-IX.</c:v>
                </c:pt>
                <c:pt idx="279">
                  <c:v>29-IX.</c:v>
                </c:pt>
                <c:pt idx="280">
                  <c:v>30-IX.</c:v>
                </c:pt>
                <c:pt idx="281">
                  <c:v>1-X.</c:v>
                </c:pt>
                <c:pt idx="282">
                  <c:v>2-X.</c:v>
                </c:pt>
                <c:pt idx="283">
                  <c:v>3-X.</c:v>
                </c:pt>
                <c:pt idx="284">
                  <c:v>4-X.</c:v>
                </c:pt>
                <c:pt idx="285">
                  <c:v>5-X.</c:v>
                </c:pt>
                <c:pt idx="286">
                  <c:v>6-X.</c:v>
                </c:pt>
                <c:pt idx="287">
                  <c:v>7-X.</c:v>
                </c:pt>
                <c:pt idx="288">
                  <c:v>8-X.</c:v>
                </c:pt>
                <c:pt idx="289">
                  <c:v>9-X.</c:v>
                </c:pt>
                <c:pt idx="290">
                  <c:v>10-X.</c:v>
                </c:pt>
                <c:pt idx="291">
                  <c:v>11-X.</c:v>
                </c:pt>
                <c:pt idx="292">
                  <c:v>12-X.</c:v>
                </c:pt>
                <c:pt idx="293">
                  <c:v>13-X.</c:v>
                </c:pt>
                <c:pt idx="294">
                  <c:v>14-X.</c:v>
                </c:pt>
                <c:pt idx="295">
                  <c:v>15-X.</c:v>
                </c:pt>
                <c:pt idx="296">
                  <c:v>16-X.</c:v>
                </c:pt>
                <c:pt idx="297">
                  <c:v>17-X.</c:v>
                </c:pt>
                <c:pt idx="298">
                  <c:v>18-X.</c:v>
                </c:pt>
                <c:pt idx="299">
                  <c:v>19-X.</c:v>
                </c:pt>
                <c:pt idx="300">
                  <c:v>20-X.</c:v>
                </c:pt>
                <c:pt idx="301">
                  <c:v>21-X.</c:v>
                </c:pt>
              </c:strCache>
            </c:strRef>
          </c:cat>
          <c:val>
            <c:numRef>
              <c:f>List1!$F$5:$KU$5</c:f>
              <c:numCache>
                <c:formatCode>General</c:formatCode>
                <c:ptCount val="302"/>
                <c:pt idx="3">
                  <c:v>444</c:v>
                </c:pt>
                <c:pt idx="4">
                  <c:v>1186</c:v>
                </c:pt>
                <c:pt idx="5">
                  <c:v>2138</c:v>
                </c:pt>
                <c:pt idx="6">
                  <c:v>3084</c:v>
                </c:pt>
                <c:pt idx="7">
                  <c:v>3421</c:v>
                </c:pt>
                <c:pt idx="8">
                  <c:v>3510</c:v>
                </c:pt>
                <c:pt idx="9">
                  <c:v>3908</c:v>
                </c:pt>
                <c:pt idx="10">
                  <c:v>4223</c:v>
                </c:pt>
                <c:pt idx="11">
                  <c:v>5424</c:v>
                </c:pt>
                <c:pt idx="12">
                  <c:v>6740</c:v>
                </c:pt>
                <c:pt idx="13">
                  <c:v>8237</c:v>
                </c:pt>
                <c:pt idx="14">
                  <c:v>9922</c:v>
                </c:pt>
                <c:pt idx="15">
                  <c:v>11742</c:v>
                </c:pt>
                <c:pt idx="16">
                  <c:v>12151</c:v>
                </c:pt>
                <c:pt idx="17">
                  <c:v>12443</c:v>
                </c:pt>
                <c:pt idx="18">
                  <c:v>14189</c:v>
                </c:pt>
                <c:pt idx="19">
                  <c:v>16148</c:v>
                </c:pt>
                <c:pt idx="20">
                  <c:v>17852</c:v>
                </c:pt>
                <c:pt idx="21">
                  <c:v>19761</c:v>
                </c:pt>
                <c:pt idx="22">
                  <c:v>21569</c:v>
                </c:pt>
                <c:pt idx="23">
                  <c:v>21904</c:v>
                </c:pt>
                <c:pt idx="24">
                  <c:v>22131</c:v>
                </c:pt>
                <c:pt idx="25">
                  <c:v>23694</c:v>
                </c:pt>
                <c:pt idx="26">
                  <c:v>24880</c:v>
                </c:pt>
                <c:pt idx="27">
                  <c:v>26008</c:v>
                </c:pt>
                <c:pt idx="28">
                  <c:v>27014</c:v>
                </c:pt>
                <c:pt idx="29">
                  <c:v>27843</c:v>
                </c:pt>
                <c:pt idx="30">
                  <c:v>28014</c:v>
                </c:pt>
                <c:pt idx="31">
                  <c:v>28096</c:v>
                </c:pt>
                <c:pt idx="32">
                  <c:v>28606</c:v>
                </c:pt>
                <c:pt idx="33">
                  <c:v>29149</c:v>
                </c:pt>
                <c:pt idx="34">
                  <c:v>29549</c:v>
                </c:pt>
                <c:pt idx="35">
                  <c:v>29925</c:v>
                </c:pt>
                <c:pt idx="36">
                  <c:v>30255</c:v>
                </c:pt>
                <c:pt idx="37">
                  <c:v>30280</c:v>
                </c:pt>
                <c:pt idx="38">
                  <c:v>30301</c:v>
                </c:pt>
                <c:pt idx="39">
                  <c:v>30546</c:v>
                </c:pt>
                <c:pt idx="40">
                  <c:v>30781</c:v>
                </c:pt>
                <c:pt idx="41">
                  <c:v>31002</c:v>
                </c:pt>
                <c:pt idx="42">
                  <c:v>31198</c:v>
                </c:pt>
                <c:pt idx="43">
                  <c:v>31473</c:v>
                </c:pt>
                <c:pt idx="44">
                  <c:v>31493</c:v>
                </c:pt>
                <c:pt idx="45">
                  <c:v>31505</c:v>
                </c:pt>
                <c:pt idx="46">
                  <c:v>31641</c:v>
                </c:pt>
                <c:pt idx="47">
                  <c:v>31780</c:v>
                </c:pt>
                <c:pt idx="48">
                  <c:v>31974</c:v>
                </c:pt>
                <c:pt idx="49">
                  <c:v>32206</c:v>
                </c:pt>
                <c:pt idx="50">
                  <c:v>32486</c:v>
                </c:pt>
                <c:pt idx="51">
                  <c:v>32584</c:v>
                </c:pt>
                <c:pt idx="52">
                  <c:v>32649</c:v>
                </c:pt>
                <c:pt idx="53">
                  <c:v>33006</c:v>
                </c:pt>
                <c:pt idx="54">
                  <c:v>33304</c:v>
                </c:pt>
                <c:pt idx="55">
                  <c:v>33565</c:v>
                </c:pt>
                <c:pt idx="56">
                  <c:v>33905</c:v>
                </c:pt>
                <c:pt idx="57">
                  <c:v>34353</c:v>
                </c:pt>
                <c:pt idx="58">
                  <c:v>34459</c:v>
                </c:pt>
                <c:pt idx="59">
                  <c:v>34506</c:v>
                </c:pt>
                <c:pt idx="60">
                  <c:v>34816</c:v>
                </c:pt>
                <c:pt idx="61">
                  <c:v>35297</c:v>
                </c:pt>
                <c:pt idx="62">
                  <c:v>35896</c:v>
                </c:pt>
                <c:pt idx="63">
                  <c:v>36549</c:v>
                </c:pt>
                <c:pt idx="64">
                  <c:v>37090</c:v>
                </c:pt>
                <c:pt idx="65">
                  <c:v>37166</c:v>
                </c:pt>
                <c:pt idx="66">
                  <c:v>37209</c:v>
                </c:pt>
                <c:pt idx="67">
                  <c:v>37757</c:v>
                </c:pt>
                <c:pt idx="68">
                  <c:v>38353</c:v>
                </c:pt>
                <c:pt idx="69">
                  <c:v>38914</c:v>
                </c:pt>
                <c:pt idx="70">
                  <c:v>39458</c:v>
                </c:pt>
                <c:pt idx="71">
                  <c:v>40054</c:v>
                </c:pt>
                <c:pt idx="72">
                  <c:v>40221</c:v>
                </c:pt>
                <c:pt idx="73">
                  <c:v>40329</c:v>
                </c:pt>
                <c:pt idx="74">
                  <c:v>40657</c:v>
                </c:pt>
                <c:pt idx="75">
                  <c:v>41054</c:v>
                </c:pt>
                <c:pt idx="76">
                  <c:v>41457</c:v>
                </c:pt>
                <c:pt idx="77">
                  <c:v>41936</c:v>
                </c:pt>
                <c:pt idx="78">
                  <c:v>42343</c:v>
                </c:pt>
                <c:pt idx="79">
                  <c:v>42481</c:v>
                </c:pt>
                <c:pt idx="80">
                  <c:v>42566</c:v>
                </c:pt>
                <c:pt idx="81">
                  <c:v>42818</c:v>
                </c:pt>
                <c:pt idx="82">
                  <c:v>43181</c:v>
                </c:pt>
                <c:pt idx="83">
                  <c:v>43538</c:v>
                </c:pt>
                <c:pt idx="84">
                  <c:v>43896</c:v>
                </c:pt>
                <c:pt idx="85">
                  <c:v>44226</c:v>
                </c:pt>
                <c:pt idx="86">
                  <c:v>44342</c:v>
                </c:pt>
                <c:pt idx="87">
                  <c:v>44411</c:v>
                </c:pt>
                <c:pt idx="88">
                  <c:v>44586</c:v>
                </c:pt>
                <c:pt idx="89">
                  <c:v>44780</c:v>
                </c:pt>
                <c:pt idx="90">
                  <c:v>44927</c:v>
                </c:pt>
                <c:pt idx="91">
                  <c:v>45119</c:v>
                </c:pt>
                <c:pt idx="92">
                  <c:v>45338</c:v>
                </c:pt>
                <c:pt idx="93">
                  <c:v>45401</c:v>
                </c:pt>
                <c:pt idx="94">
                  <c:v>45443</c:v>
                </c:pt>
                <c:pt idx="95">
                  <c:v>45568</c:v>
                </c:pt>
                <c:pt idx="96">
                  <c:v>45729</c:v>
                </c:pt>
                <c:pt idx="97">
                  <c:v>45890</c:v>
                </c:pt>
                <c:pt idx="98">
                  <c:v>46109</c:v>
                </c:pt>
                <c:pt idx="99">
                  <c:v>46187</c:v>
                </c:pt>
                <c:pt idx="100">
                  <c:v>46208</c:v>
                </c:pt>
                <c:pt idx="101">
                  <c:v>46237</c:v>
                </c:pt>
                <c:pt idx="102">
                  <c:v>46244</c:v>
                </c:pt>
                <c:pt idx="103">
                  <c:v>46335</c:v>
                </c:pt>
                <c:pt idx="104">
                  <c:v>46429</c:v>
                </c:pt>
                <c:pt idx="105">
                  <c:v>46597</c:v>
                </c:pt>
                <c:pt idx="106">
                  <c:v>46797</c:v>
                </c:pt>
                <c:pt idx="107">
                  <c:v>46843</c:v>
                </c:pt>
                <c:pt idx="108">
                  <c:v>46876</c:v>
                </c:pt>
                <c:pt idx="109">
                  <c:v>47013</c:v>
                </c:pt>
                <c:pt idx="110">
                  <c:v>47133</c:v>
                </c:pt>
                <c:pt idx="111">
                  <c:v>47238</c:v>
                </c:pt>
                <c:pt idx="112">
                  <c:v>47396</c:v>
                </c:pt>
                <c:pt idx="113">
                  <c:v>47572</c:v>
                </c:pt>
                <c:pt idx="114">
                  <c:v>47613</c:v>
                </c:pt>
                <c:pt idx="115">
                  <c:v>47668</c:v>
                </c:pt>
                <c:pt idx="116">
                  <c:v>47795</c:v>
                </c:pt>
                <c:pt idx="117">
                  <c:v>47913</c:v>
                </c:pt>
                <c:pt idx="118">
                  <c:v>48048</c:v>
                </c:pt>
                <c:pt idx="119">
                  <c:v>48195</c:v>
                </c:pt>
                <c:pt idx="120">
                  <c:v>48350</c:v>
                </c:pt>
                <c:pt idx="121">
                  <c:v>48406</c:v>
                </c:pt>
                <c:pt idx="122">
                  <c:v>48443</c:v>
                </c:pt>
                <c:pt idx="123">
                  <c:v>48557</c:v>
                </c:pt>
                <c:pt idx="124">
                  <c:v>48676</c:v>
                </c:pt>
                <c:pt idx="125">
                  <c:v>48796</c:v>
                </c:pt>
                <c:pt idx="126">
                  <c:v>48926</c:v>
                </c:pt>
                <c:pt idx="127">
                  <c:v>49064</c:v>
                </c:pt>
                <c:pt idx="128">
                  <c:v>49093</c:v>
                </c:pt>
                <c:pt idx="129">
                  <c:v>49123</c:v>
                </c:pt>
                <c:pt idx="130">
                  <c:v>49244</c:v>
                </c:pt>
                <c:pt idx="131">
                  <c:v>49370</c:v>
                </c:pt>
                <c:pt idx="132">
                  <c:v>49465</c:v>
                </c:pt>
                <c:pt idx="133">
                  <c:v>49582</c:v>
                </c:pt>
                <c:pt idx="134">
                  <c:v>49753</c:v>
                </c:pt>
                <c:pt idx="135">
                  <c:v>49815</c:v>
                </c:pt>
                <c:pt idx="136">
                  <c:v>49847</c:v>
                </c:pt>
                <c:pt idx="137">
                  <c:v>49945</c:v>
                </c:pt>
                <c:pt idx="138">
                  <c:v>50060</c:v>
                </c:pt>
                <c:pt idx="139">
                  <c:v>50192</c:v>
                </c:pt>
                <c:pt idx="140">
                  <c:v>50349</c:v>
                </c:pt>
                <c:pt idx="141">
                  <c:v>50478</c:v>
                </c:pt>
                <c:pt idx="142">
                  <c:v>50548</c:v>
                </c:pt>
                <c:pt idx="143">
                  <c:v>50579</c:v>
                </c:pt>
                <c:pt idx="144">
                  <c:v>50662</c:v>
                </c:pt>
                <c:pt idx="145">
                  <c:v>50755</c:v>
                </c:pt>
                <c:pt idx="146">
                  <c:v>50840</c:v>
                </c:pt>
                <c:pt idx="147">
                  <c:v>50940</c:v>
                </c:pt>
                <c:pt idx="148">
                  <c:v>51047</c:v>
                </c:pt>
                <c:pt idx="149">
                  <c:v>51077</c:v>
                </c:pt>
                <c:pt idx="150">
                  <c:v>51092</c:v>
                </c:pt>
                <c:pt idx="151">
                  <c:v>51142</c:v>
                </c:pt>
                <c:pt idx="152">
                  <c:v>51205</c:v>
                </c:pt>
                <c:pt idx="153">
                  <c:v>51296</c:v>
                </c:pt>
                <c:pt idx="154">
                  <c:v>51377</c:v>
                </c:pt>
                <c:pt idx="155">
                  <c:v>51481</c:v>
                </c:pt>
                <c:pt idx="156">
                  <c:v>51518</c:v>
                </c:pt>
                <c:pt idx="157">
                  <c:v>51551</c:v>
                </c:pt>
                <c:pt idx="158">
                  <c:v>51626</c:v>
                </c:pt>
                <c:pt idx="159">
                  <c:v>51707</c:v>
                </c:pt>
                <c:pt idx="160">
                  <c:v>51803</c:v>
                </c:pt>
                <c:pt idx="161">
                  <c:v>51874</c:v>
                </c:pt>
                <c:pt idx="162">
                  <c:v>51971</c:v>
                </c:pt>
                <c:pt idx="163">
                  <c:v>51998</c:v>
                </c:pt>
                <c:pt idx="164">
                  <c:v>52031</c:v>
                </c:pt>
                <c:pt idx="165">
                  <c:v>52112</c:v>
                </c:pt>
                <c:pt idx="166">
                  <c:v>52209</c:v>
                </c:pt>
                <c:pt idx="167">
                  <c:v>52295</c:v>
                </c:pt>
                <c:pt idx="168">
                  <c:v>52381</c:v>
                </c:pt>
                <c:pt idx="169">
                  <c:v>52476</c:v>
                </c:pt>
                <c:pt idx="170">
                  <c:v>52505</c:v>
                </c:pt>
                <c:pt idx="171">
                  <c:v>52536</c:v>
                </c:pt>
                <c:pt idx="172">
                  <c:v>52607</c:v>
                </c:pt>
                <c:pt idx="173">
                  <c:v>52662</c:v>
                </c:pt>
                <c:pt idx="174">
                  <c:v>52737</c:v>
                </c:pt>
                <c:pt idx="175">
                  <c:v>52813</c:v>
                </c:pt>
                <c:pt idx="176">
                  <c:v>52891</c:v>
                </c:pt>
                <c:pt idx="177">
                  <c:v>52919</c:v>
                </c:pt>
                <c:pt idx="178">
                  <c:v>52944</c:v>
                </c:pt>
                <c:pt idx="179">
                  <c:v>52983</c:v>
                </c:pt>
                <c:pt idx="180">
                  <c:v>53033</c:v>
                </c:pt>
                <c:pt idx="181">
                  <c:v>53086</c:v>
                </c:pt>
                <c:pt idx="182">
                  <c:v>53136</c:v>
                </c:pt>
                <c:pt idx="183">
                  <c:v>53192</c:v>
                </c:pt>
                <c:pt idx="184">
                  <c:v>53206</c:v>
                </c:pt>
                <c:pt idx="185">
                  <c:v>53218</c:v>
                </c:pt>
                <c:pt idx="186">
                  <c:v>53262</c:v>
                </c:pt>
                <c:pt idx="187">
                  <c:v>53308</c:v>
                </c:pt>
                <c:pt idx="188">
                  <c:v>53366</c:v>
                </c:pt>
                <c:pt idx="189">
                  <c:v>53410</c:v>
                </c:pt>
                <c:pt idx="190">
                  <c:v>53465</c:v>
                </c:pt>
                <c:pt idx="191">
                  <c:v>53477</c:v>
                </c:pt>
                <c:pt idx="192">
                  <c:v>53489</c:v>
                </c:pt>
                <c:pt idx="193">
                  <c:v>53495</c:v>
                </c:pt>
                <c:pt idx="194">
                  <c:v>53504</c:v>
                </c:pt>
                <c:pt idx="195">
                  <c:v>53544</c:v>
                </c:pt>
                <c:pt idx="196">
                  <c:v>53599</c:v>
                </c:pt>
                <c:pt idx="197">
                  <c:v>53647</c:v>
                </c:pt>
                <c:pt idx="198">
                  <c:v>53662</c:v>
                </c:pt>
                <c:pt idx="199">
                  <c:v>53676</c:v>
                </c:pt>
                <c:pt idx="200">
                  <c:v>53724</c:v>
                </c:pt>
                <c:pt idx="201">
                  <c:v>53767</c:v>
                </c:pt>
                <c:pt idx="202">
                  <c:v>53813</c:v>
                </c:pt>
                <c:pt idx="203">
                  <c:v>53871</c:v>
                </c:pt>
                <c:pt idx="204">
                  <c:v>53926</c:v>
                </c:pt>
                <c:pt idx="205">
                  <c:v>53948</c:v>
                </c:pt>
                <c:pt idx="206">
                  <c:v>53967</c:v>
                </c:pt>
                <c:pt idx="207">
                  <c:v>54016</c:v>
                </c:pt>
                <c:pt idx="208">
                  <c:v>54061</c:v>
                </c:pt>
                <c:pt idx="209">
                  <c:v>54129</c:v>
                </c:pt>
                <c:pt idx="210">
                  <c:v>54167</c:v>
                </c:pt>
                <c:pt idx="211">
                  <c:v>54200</c:v>
                </c:pt>
                <c:pt idx="212">
                  <c:v>54206</c:v>
                </c:pt>
                <c:pt idx="213">
                  <c:v>54215</c:v>
                </c:pt>
                <c:pt idx="214">
                  <c:v>54255</c:v>
                </c:pt>
                <c:pt idx="215">
                  <c:v>54309</c:v>
                </c:pt>
                <c:pt idx="216">
                  <c:v>54344</c:v>
                </c:pt>
                <c:pt idx="217">
                  <c:v>54372</c:v>
                </c:pt>
                <c:pt idx="218">
                  <c:v>54417</c:v>
                </c:pt>
                <c:pt idx="219">
                  <c:v>54434</c:v>
                </c:pt>
                <c:pt idx="220">
                  <c:v>54447</c:v>
                </c:pt>
                <c:pt idx="221">
                  <c:v>54484</c:v>
                </c:pt>
                <c:pt idx="222">
                  <c:v>54510</c:v>
                </c:pt>
                <c:pt idx="223">
                  <c:v>54550</c:v>
                </c:pt>
                <c:pt idx="224">
                  <c:v>54581</c:v>
                </c:pt>
                <c:pt idx="225">
                  <c:v>54614</c:v>
                </c:pt>
                <c:pt idx="226">
                  <c:v>54627</c:v>
                </c:pt>
                <c:pt idx="227">
                  <c:v>54632</c:v>
                </c:pt>
                <c:pt idx="228">
                  <c:v>54654</c:v>
                </c:pt>
                <c:pt idx="229">
                  <c:v>54669</c:v>
                </c:pt>
                <c:pt idx="230">
                  <c:v>54689</c:v>
                </c:pt>
                <c:pt idx="231">
                  <c:v>54712</c:v>
                </c:pt>
                <c:pt idx="232">
                  <c:v>54737</c:v>
                </c:pt>
                <c:pt idx="233">
                  <c:v>54747</c:v>
                </c:pt>
                <c:pt idx="234">
                  <c:v>54752</c:v>
                </c:pt>
                <c:pt idx="235">
                  <c:v>54769</c:v>
                </c:pt>
                <c:pt idx="236">
                  <c:v>54793</c:v>
                </c:pt>
                <c:pt idx="237">
                  <c:v>54815</c:v>
                </c:pt>
                <c:pt idx="238">
                  <c:v>54837</c:v>
                </c:pt>
                <c:pt idx="239">
                  <c:v>54870</c:v>
                </c:pt>
                <c:pt idx="240">
                  <c:v>54880</c:v>
                </c:pt>
                <c:pt idx="241">
                  <c:v>54883</c:v>
                </c:pt>
                <c:pt idx="242">
                  <c:v>54894</c:v>
                </c:pt>
                <c:pt idx="243">
                  <c:v>54923</c:v>
                </c:pt>
                <c:pt idx="244">
                  <c:v>54947</c:v>
                </c:pt>
                <c:pt idx="245">
                  <c:v>54974</c:v>
                </c:pt>
                <c:pt idx="246">
                  <c:v>55002</c:v>
                </c:pt>
                <c:pt idx="247">
                  <c:v>55004</c:v>
                </c:pt>
                <c:pt idx="248">
                  <c:v>55011</c:v>
                </c:pt>
                <c:pt idx="249">
                  <c:v>55032</c:v>
                </c:pt>
                <c:pt idx="250">
                  <c:v>55056</c:v>
                </c:pt>
                <c:pt idx="251">
                  <c:v>55075</c:v>
                </c:pt>
                <c:pt idx="252">
                  <c:v>55103</c:v>
                </c:pt>
                <c:pt idx="253">
                  <c:v>55129</c:v>
                </c:pt>
                <c:pt idx="254">
                  <c:v>55137</c:v>
                </c:pt>
                <c:pt idx="255">
                  <c:v>55142</c:v>
                </c:pt>
                <c:pt idx="256">
                  <c:v>55155</c:v>
                </c:pt>
                <c:pt idx="257">
                  <c:v>55168</c:v>
                </c:pt>
                <c:pt idx="258">
                  <c:v>55186</c:v>
                </c:pt>
                <c:pt idx="259">
                  <c:v>55215</c:v>
                </c:pt>
                <c:pt idx="260">
                  <c:v>55240</c:v>
                </c:pt>
                <c:pt idx="261">
                  <c:v>55242</c:v>
                </c:pt>
                <c:pt idx="262">
                  <c:v>55245</c:v>
                </c:pt>
                <c:pt idx="263">
                  <c:v>55264</c:v>
                </c:pt>
                <c:pt idx="264">
                  <c:v>55282</c:v>
                </c:pt>
                <c:pt idx="265">
                  <c:v>55297</c:v>
                </c:pt>
                <c:pt idx="266">
                  <c:v>55315</c:v>
                </c:pt>
                <c:pt idx="267">
                  <c:v>55340</c:v>
                </c:pt>
                <c:pt idx="268">
                  <c:v>55345</c:v>
                </c:pt>
                <c:pt idx="269">
                  <c:v>55345</c:v>
                </c:pt>
                <c:pt idx="270">
                  <c:v>55364</c:v>
                </c:pt>
                <c:pt idx="271">
                  <c:v>55372</c:v>
                </c:pt>
                <c:pt idx="272">
                  <c:v>55379</c:v>
                </c:pt>
                <c:pt idx="273">
                  <c:v>55402</c:v>
                </c:pt>
                <c:pt idx="274">
                  <c:v>55428</c:v>
                </c:pt>
                <c:pt idx="275">
                  <c:v>55434</c:v>
                </c:pt>
                <c:pt idx="276">
                  <c:v>55434</c:v>
                </c:pt>
                <c:pt idx="277">
                  <c:v>55446</c:v>
                </c:pt>
                <c:pt idx="278">
                  <c:v>55446</c:v>
                </c:pt>
                <c:pt idx="279">
                  <c:v>55463</c:v>
                </c:pt>
                <c:pt idx="280">
                  <c:v>55478</c:v>
                </c:pt>
                <c:pt idx="281">
                  <c:v>55495</c:v>
                </c:pt>
                <c:pt idx="282">
                  <c:v>55501</c:v>
                </c:pt>
                <c:pt idx="283">
                  <c:v>55501</c:v>
                </c:pt>
                <c:pt idx="284">
                  <c:v>55511</c:v>
                </c:pt>
                <c:pt idx="285">
                  <c:v>55518</c:v>
                </c:pt>
                <c:pt idx="286">
                  <c:v>55531</c:v>
                </c:pt>
                <c:pt idx="287">
                  <c:v>55548</c:v>
                </c:pt>
                <c:pt idx="288">
                  <c:v>55561</c:v>
                </c:pt>
                <c:pt idx="289">
                  <c:v>55567</c:v>
                </c:pt>
                <c:pt idx="290">
                  <c:v>55567</c:v>
                </c:pt>
                <c:pt idx="291">
                  <c:v>55585</c:v>
                </c:pt>
                <c:pt idx="292">
                  <c:v>55600</c:v>
                </c:pt>
                <c:pt idx="293">
                  <c:v>55608</c:v>
                </c:pt>
                <c:pt idx="294">
                  <c:v>55618</c:v>
                </c:pt>
                <c:pt idx="295">
                  <c:v>55634</c:v>
                </c:pt>
                <c:pt idx="296">
                  <c:v>55636</c:v>
                </c:pt>
                <c:pt idx="297">
                  <c:v>55638</c:v>
                </c:pt>
                <c:pt idx="298">
                  <c:v>55657</c:v>
                </c:pt>
                <c:pt idx="299">
                  <c:v>55663</c:v>
                </c:pt>
                <c:pt idx="300">
                  <c:v>55675</c:v>
                </c:pt>
                <c:pt idx="301">
                  <c:v>556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A783-4536-9939-DB56A099F99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335740047"/>
        <c:axId val="1249189871"/>
      </c:lineChart>
      <c:catAx>
        <c:axId val="133574004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rgbClr val="000000"/>
            </a:solidFill>
            <a:round/>
          </a:ln>
          <a:effectLst/>
        </c:spPr>
        <c:txPr>
          <a:bodyPr rot="-36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cs-CZ"/>
          </a:p>
        </c:txPr>
        <c:crossAx val="1249189871"/>
        <c:crosses val="autoZero"/>
        <c:auto val="1"/>
        <c:lblAlgn val="ctr"/>
        <c:lblOffset val="100"/>
        <c:tickLblSkip val="7"/>
        <c:noMultiLvlLbl val="0"/>
      </c:catAx>
      <c:valAx>
        <c:axId val="124918987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cs-CZ"/>
          </a:p>
        </c:txPr>
        <c:crossAx val="1335740047"/>
        <c:crosses val="autoZero"/>
        <c:crossBetween val="midCat"/>
        <c:majorUnit val="2000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2797528443005752"/>
          <c:y val="0.28604517875847346"/>
          <c:w val="0.10158527092232689"/>
          <c:h val="0.4728885344872771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1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1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cs-CZ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2895491925027349E-2"/>
          <c:y val="2.8733097084892491E-2"/>
          <c:w val="0.69322079746689458"/>
          <c:h val="0.83918438300516462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Lékaři</c:v>
                </c:pt>
              </c:strCache>
            </c:strRef>
          </c:tx>
          <c:spPr>
            <a:ln w="6350" cap="rnd">
              <a:solidFill>
                <a:srgbClr val="4472C4"/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82"/>
              <c:layout>
                <c:manualLayout>
                  <c:x val="-1.3019527064393282E-16"/>
                  <c:y val="2.5644061527390974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l">
                    <a:defRPr sz="1200" b="1" i="0" u="none" strike="noStrike" kern="1200" baseline="0">
                      <a:solidFill>
                        <a:srgbClr val="4472C4"/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601304996662368"/>
                      <c:h val="4.1147062359859425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4-CC25-463F-AAD4-4AD72ABB962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trendline>
            <c:spPr>
              <a:ln w="25400" cap="rnd">
                <a:solidFill>
                  <a:srgbClr val="4472C4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strRef>
              <c:f>List1!$B$1:$GB$1</c:f>
              <c:strCache>
                <c:ptCount val="183"/>
                <c:pt idx="0">
                  <c:v>22.04.21</c:v>
                </c:pt>
                <c:pt idx="1">
                  <c:v>23.04.21</c:v>
                </c:pt>
                <c:pt idx="2">
                  <c:v>24.04.21</c:v>
                </c:pt>
                <c:pt idx="3">
                  <c:v>25.04.21</c:v>
                </c:pt>
                <c:pt idx="4">
                  <c:v>26.04.21</c:v>
                </c:pt>
                <c:pt idx="5">
                  <c:v>27.04.21</c:v>
                </c:pt>
                <c:pt idx="6">
                  <c:v>28.04.21</c:v>
                </c:pt>
                <c:pt idx="7">
                  <c:v>29.04.21</c:v>
                </c:pt>
                <c:pt idx="8">
                  <c:v>30.04.21</c:v>
                </c:pt>
                <c:pt idx="9">
                  <c:v>01.05.21</c:v>
                </c:pt>
                <c:pt idx="10">
                  <c:v>02.05.21</c:v>
                </c:pt>
                <c:pt idx="11">
                  <c:v>03.05.21</c:v>
                </c:pt>
                <c:pt idx="12">
                  <c:v>04.05.21</c:v>
                </c:pt>
                <c:pt idx="13">
                  <c:v>05.05.21</c:v>
                </c:pt>
                <c:pt idx="14">
                  <c:v>06.05.21</c:v>
                </c:pt>
                <c:pt idx="15">
                  <c:v>07.05.21</c:v>
                </c:pt>
                <c:pt idx="16">
                  <c:v>08.05.21</c:v>
                </c:pt>
                <c:pt idx="17">
                  <c:v>09.05.21</c:v>
                </c:pt>
                <c:pt idx="18">
                  <c:v>10.05.21</c:v>
                </c:pt>
                <c:pt idx="19">
                  <c:v>11.05.21</c:v>
                </c:pt>
                <c:pt idx="20">
                  <c:v>12.05.21</c:v>
                </c:pt>
                <c:pt idx="21">
                  <c:v>13.05.21</c:v>
                </c:pt>
                <c:pt idx="22">
                  <c:v>14.05.21</c:v>
                </c:pt>
                <c:pt idx="23">
                  <c:v>15.05.21</c:v>
                </c:pt>
                <c:pt idx="24">
                  <c:v>16.05.21</c:v>
                </c:pt>
                <c:pt idx="25">
                  <c:v>17.05.21</c:v>
                </c:pt>
                <c:pt idx="26">
                  <c:v>18.05.21</c:v>
                </c:pt>
                <c:pt idx="27">
                  <c:v>19.05.21</c:v>
                </c:pt>
                <c:pt idx="28">
                  <c:v>20.05.21</c:v>
                </c:pt>
                <c:pt idx="29">
                  <c:v>21.05.21</c:v>
                </c:pt>
                <c:pt idx="30">
                  <c:v>22.05.21</c:v>
                </c:pt>
                <c:pt idx="31">
                  <c:v>23.05.21</c:v>
                </c:pt>
                <c:pt idx="32">
                  <c:v>24.05.21</c:v>
                </c:pt>
                <c:pt idx="33">
                  <c:v>25.05.21</c:v>
                </c:pt>
                <c:pt idx="34">
                  <c:v>26.05.21</c:v>
                </c:pt>
                <c:pt idx="35">
                  <c:v>27.05.21</c:v>
                </c:pt>
                <c:pt idx="36">
                  <c:v>28.05.21</c:v>
                </c:pt>
                <c:pt idx="37">
                  <c:v>29.05.21</c:v>
                </c:pt>
                <c:pt idx="38">
                  <c:v>30.05.21</c:v>
                </c:pt>
                <c:pt idx="39">
                  <c:v>31.05.21</c:v>
                </c:pt>
                <c:pt idx="40">
                  <c:v>01.06.21</c:v>
                </c:pt>
                <c:pt idx="41">
                  <c:v>02.06.21</c:v>
                </c:pt>
                <c:pt idx="42">
                  <c:v>03.06.21</c:v>
                </c:pt>
                <c:pt idx="43">
                  <c:v>04.06.21</c:v>
                </c:pt>
                <c:pt idx="44">
                  <c:v>05.06.21</c:v>
                </c:pt>
                <c:pt idx="45">
                  <c:v>06.06.21</c:v>
                </c:pt>
                <c:pt idx="46">
                  <c:v>07.06.21</c:v>
                </c:pt>
                <c:pt idx="47">
                  <c:v>08.06.21</c:v>
                </c:pt>
                <c:pt idx="48">
                  <c:v>09.06.21</c:v>
                </c:pt>
                <c:pt idx="49">
                  <c:v>10.06.21</c:v>
                </c:pt>
                <c:pt idx="50">
                  <c:v>11.06.21</c:v>
                </c:pt>
                <c:pt idx="51">
                  <c:v>12.06.21</c:v>
                </c:pt>
                <c:pt idx="52">
                  <c:v>13.06.21</c:v>
                </c:pt>
                <c:pt idx="53">
                  <c:v>14.06.21</c:v>
                </c:pt>
                <c:pt idx="54">
                  <c:v>15.06.21</c:v>
                </c:pt>
                <c:pt idx="55">
                  <c:v>16.06.21</c:v>
                </c:pt>
                <c:pt idx="56">
                  <c:v>17.06.21</c:v>
                </c:pt>
                <c:pt idx="57">
                  <c:v>18.06.21</c:v>
                </c:pt>
                <c:pt idx="58">
                  <c:v>19.06.21</c:v>
                </c:pt>
                <c:pt idx="59">
                  <c:v>20.06.21</c:v>
                </c:pt>
                <c:pt idx="60">
                  <c:v>21.06.21</c:v>
                </c:pt>
                <c:pt idx="61">
                  <c:v>22.06.21</c:v>
                </c:pt>
                <c:pt idx="62">
                  <c:v>23.06.21</c:v>
                </c:pt>
                <c:pt idx="63">
                  <c:v>24.06.21</c:v>
                </c:pt>
                <c:pt idx="64">
                  <c:v>25.06.21</c:v>
                </c:pt>
                <c:pt idx="65">
                  <c:v>26.06.21</c:v>
                </c:pt>
                <c:pt idx="66">
                  <c:v>27.06.21</c:v>
                </c:pt>
                <c:pt idx="67">
                  <c:v>28.06.21</c:v>
                </c:pt>
                <c:pt idx="68">
                  <c:v>29.06.21</c:v>
                </c:pt>
                <c:pt idx="69">
                  <c:v>30.06.21</c:v>
                </c:pt>
                <c:pt idx="70">
                  <c:v>01.07.21</c:v>
                </c:pt>
                <c:pt idx="71">
                  <c:v>02.07.21</c:v>
                </c:pt>
                <c:pt idx="72">
                  <c:v>03.07.21</c:v>
                </c:pt>
                <c:pt idx="73">
                  <c:v>04.07.21</c:v>
                </c:pt>
                <c:pt idx="74">
                  <c:v>05.07.21</c:v>
                </c:pt>
                <c:pt idx="75">
                  <c:v>06.07.21</c:v>
                </c:pt>
                <c:pt idx="76">
                  <c:v>07.07.21</c:v>
                </c:pt>
                <c:pt idx="77">
                  <c:v>08.07.21</c:v>
                </c:pt>
                <c:pt idx="78">
                  <c:v>09.07.21</c:v>
                </c:pt>
                <c:pt idx="79">
                  <c:v>10.07.21</c:v>
                </c:pt>
                <c:pt idx="80">
                  <c:v>11.07.21</c:v>
                </c:pt>
                <c:pt idx="81">
                  <c:v>12.07.21</c:v>
                </c:pt>
                <c:pt idx="82">
                  <c:v>13.07.21</c:v>
                </c:pt>
                <c:pt idx="83">
                  <c:v>14.07.21</c:v>
                </c:pt>
                <c:pt idx="84">
                  <c:v>15.07.21</c:v>
                </c:pt>
                <c:pt idx="85">
                  <c:v>16.07.21</c:v>
                </c:pt>
                <c:pt idx="86">
                  <c:v>17.07.21</c:v>
                </c:pt>
                <c:pt idx="87">
                  <c:v>18.07.21</c:v>
                </c:pt>
                <c:pt idx="88">
                  <c:v>19.07.21</c:v>
                </c:pt>
                <c:pt idx="89">
                  <c:v>20.07.21</c:v>
                </c:pt>
                <c:pt idx="90">
                  <c:v>21.07.21</c:v>
                </c:pt>
                <c:pt idx="91">
                  <c:v>22.07.21</c:v>
                </c:pt>
                <c:pt idx="92">
                  <c:v>23.07.21</c:v>
                </c:pt>
                <c:pt idx="93">
                  <c:v>24.07.21</c:v>
                </c:pt>
                <c:pt idx="94">
                  <c:v>25.07.21</c:v>
                </c:pt>
                <c:pt idx="95">
                  <c:v>26.07.21</c:v>
                </c:pt>
                <c:pt idx="96">
                  <c:v>27.07.21</c:v>
                </c:pt>
                <c:pt idx="97">
                  <c:v>28.07.21</c:v>
                </c:pt>
                <c:pt idx="98">
                  <c:v>29.07.21</c:v>
                </c:pt>
                <c:pt idx="99">
                  <c:v>30.07.21</c:v>
                </c:pt>
                <c:pt idx="100">
                  <c:v>31.07.21</c:v>
                </c:pt>
                <c:pt idx="101">
                  <c:v>01.08.21</c:v>
                </c:pt>
                <c:pt idx="102">
                  <c:v>02.08.21</c:v>
                </c:pt>
                <c:pt idx="103">
                  <c:v>03.08.21</c:v>
                </c:pt>
                <c:pt idx="104">
                  <c:v>04.08.21</c:v>
                </c:pt>
                <c:pt idx="105">
                  <c:v>05.08.21</c:v>
                </c:pt>
                <c:pt idx="106">
                  <c:v>06.08.21</c:v>
                </c:pt>
                <c:pt idx="107">
                  <c:v>07.08.21</c:v>
                </c:pt>
                <c:pt idx="108">
                  <c:v>08.08.21</c:v>
                </c:pt>
                <c:pt idx="109">
                  <c:v>09.08.21</c:v>
                </c:pt>
                <c:pt idx="110">
                  <c:v>10.08.21</c:v>
                </c:pt>
                <c:pt idx="111">
                  <c:v>11.08.21</c:v>
                </c:pt>
                <c:pt idx="112">
                  <c:v>12.08.21</c:v>
                </c:pt>
                <c:pt idx="113">
                  <c:v>13.08.21</c:v>
                </c:pt>
                <c:pt idx="114">
                  <c:v>14.08.21</c:v>
                </c:pt>
                <c:pt idx="115">
                  <c:v>15.08.21</c:v>
                </c:pt>
                <c:pt idx="116">
                  <c:v>16.08.21</c:v>
                </c:pt>
                <c:pt idx="117">
                  <c:v>17.08.21</c:v>
                </c:pt>
                <c:pt idx="118">
                  <c:v>18.08.21</c:v>
                </c:pt>
                <c:pt idx="119">
                  <c:v>19.08.21</c:v>
                </c:pt>
                <c:pt idx="120">
                  <c:v>20.08.21</c:v>
                </c:pt>
                <c:pt idx="121">
                  <c:v>21.08.21</c:v>
                </c:pt>
                <c:pt idx="122">
                  <c:v>22.08.21</c:v>
                </c:pt>
                <c:pt idx="123">
                  <c:v>23.08.21</c:v>
                </c:pt>
                <c:pt idx="124">
                  <c:v>24.08.21</c:v>
                </c:pt>
                <c:pt idx="125">
                  <c:v>25.08.21</c:v>
                </c:pt>
                <c:pt idx="126">
                  <c:v>26.08.21</c:v>
                </c:pt>
                <c:pt idx="127">
                  <c:v>27.08.21</c:v>
                </c:pt>
                <c:pt idx="128">
                  <c:v>28.08.21</c:v>
                </c:pt>
                <c:pt idx="129">
                  <c:v>29.08.21</c:v>
                </c:pt>
                <c:pt idx="130">
                  <c:v>30.08.21</c:v>
                </c:pt>
                <c:pt idx="131">
                  <c:v>31.08.21</c:v>
                </c:pt>
                <c:pt idx="132">
                  <c:v>01.09.21</c:v>
                </c:pt>
                <c:pt idx="133">
                  <c:v>02.09.21</c:v>
                </c:pt>
                <c:pt idx="134">
                  <c:v>03.09.21</c:v>
                </c:pt>
                <c:pt idx="135">
                  <c:v>04.09.21</c:v>
                </c:pt>
                <c:pt idx="136">
                  <c:v>05.09.21</c:v>
                </c:pt>
                <c:pt idx="137">
                  <c:v>06.09.21</c:v>
                </c:pt>
                <c:pt idx="138">
                  <c:v>07.09.21</c:v>
                </c:pt>
                <c:pt idx="139">
                  <c:v>08.09.21</c:v>
                </c:pt>
                <c:pt idx="140">
                  <c:v>09.09.21</c:v>
                </c:pt>
                <c:pt idx="141">
                  <c:v>10.09.21</c:v>
                </c:pt>
                <c:pt idx="142">
                  <c:v>11.09.21</c:v>
                </c:pt>
                <c:pt idx="143">
                  <c:v>12.09.21</c:v>
                </c:pt>
                <c:pt idx="144">
                  <c:v>13.09.21</c:v>
                </c:pt>
                <c:pt idx="145">
                  <c:v>14.09.21</c:v>
                </c:pt>
                <c:pt idx="146">
                  <c:v>15.09.21</c:v>
                </c:pt>
                <c:pt idx="147">
                  <c:v>16.09.21</c:v>
                </c:pt>
                <c:pt idx="148">
                  <c:v>17.09.21</c:v>
                </c:pt>
                <c:pt idx="149">
                  <c:v>18.09.21</c:v>
                </c:pt>
                <c:pt idx="150">
                  <c:v>19.09.21</c:v>
                </c:pt>
                <c:pt idx="151">
                  <c:v>20.09.21</c:v>
                </c:pt>
                <c:pt idx="152">
                  <c:v>21.09.21</c:v>
                </c:pt>
                <c:pt idx="153">
                  <c:v>22.09.21</c:v>
                </c:pt>
                <c:pt idx="154">
                  <c:v>23.09.21</c:v>
                </c:pt>
                <c:pt idx="155">
                  <c:v>24.09.21</c:v>
                </c:pt>
                <c:pt idx="156">
                  <c:v>25.09.21</c:v>
                </c:pt>
                <c:pt idx="157">
                  <c:v>26.09.21</c:v>
                </c:pt>
                <c:pt idx="158">
                  <c:v>27.09.21</c:v>
                </c:pt>
                <c:pt idx="159">
                  <c:v>28.09.21</c:v>
                </c:pt>
                <c:pt idx="160">
                  <c:v>29.09.21</c:v>
                </c:pt>
                <c:pt idx="161">
                  <c:v>30.09.21</c:v>
                </c:pt>
                <c:pt idx="162">
                  <c:v>01.10.21</c:v>
                </c:pt>
                <c:pt idx="163">
                  <c:v>02.10.21</c:v>
                </c:pt>
                <c:pt idx="164">
                  <c:v>03.10.21</c:v>
                </c:pt>
                <c:pt idx="165">
                  <c:v>04.10.21</c:v>
                </c:pt>
                <c:pt idx="166">
                  <c:v>05.10.21</c:v>
                </c:pt>
                <c:pt idx="167">
                  <c:v>06.10.21</c:v>
                </c:pt>
                <c:pt idx="168">
                  <c:v>07.10.21</c:v>
                </c:pt>
                <c:pt idx="169">
                  <c:v>08.10.21</c:v>
                </c:pt>
                <c:pt idx="170">
                  <c:v>09.10.21</c:v>
                </c:pt>
                <c:pt idx="171">
                  <c:v>10.10.21</c:v>
                </c:pt>
                <c:pt idx="172">
                  <c:v>11.10.21</c:v>
                </c:pt>
                <c:pt idx="173">
                  <c:v>12.10.21</c:v>
                </c:pt>
                <c:pt idx="174">
                  <c:v>13.10.21</c:v>
                </c:pt>
                <c:pt idx="175">
                  <c:v>14.10.21</c:v>
                </c:pt>
                <c:pt idx="176">
                  <c:v>15.10.21</c:v>
                </c:pt>
                <c:pt idx="177">
                  <c:v>16.10.21</c:v>
                </c:pt>
                <c:pt idx="178">
                  <c:v>17.10.21</c:v>
                </c:pt>
                <c:pt idx="179">
                  <c:v>18.10.21</c:v>
                </c:pt>
                <c:pt idx="180">
                  <c:v>19.10.21</c:v>
                </c:pt>
                <c:pt idx="181">
                  <c:v>20.10.21</c:v>
                </c:pt>
                <c:pt idx="182">
                  <c:v>21.10.21</c:v>
                </c:pt>
              </c:strCache>
            </c:strRef>
          </c:cat>
          <c:val>
            <c:numRef>
              <c:f>List1!$B$2:$GB$2</c:f>
              <c:numCache>
                <c:formatCode>General</c:formatCode>
                <c:ptCount val="183"/>
                <c:pt idx="0">
                  <c:v>2</c:v>
                </c:pt>
                <c:pt idx="1">
                  <c:v>6</c:v>
                </c:pt>
                <c:pt idx="2">
                  <c:v>1</c:v>
                </c:pt>
                <c:pt idx="3">
                  <c:v>1</c:v>
                </c:pt>
                <c:pt idx="4">
                  <c:v>3</c:v>
                </c:pt>
                <c:pt idx="5">
                  <c:v>3</c:v>
                </c:pt>
                <c:pt idx="6">
                  <c:v>7</c:v>
                </c:pt>
                <c:pt idx="7">
                  <c:v>6</c:v>
                </c:pt>
                <c:pt idx="8">
                  <c:v>4</c:v>
                </c:pt>
                <c:pt idx="9">
                  <c:v>1</c:v>
                </c:pt>
                <c:pt idx="10">
                  <c:v>3</c:v>
                </c:pt>
                <c:pt idx="11">
                  <c:v>2</c:v>
                </c:pt>
                <c:pt idx="12">
                  <c:v>4</c:v>
                </c:pt>
                <c:pt idx="13">
                  <c:v>5</c:v>
                </c:pt>
                <c:pt idx="14">
                  <c:v>0</c:v>
                </c:pt>
                <c:pt idx="15">
                  <c:v>0</c:v>
                </c:pt>
                <c:pt idx="16">
                  <c:v>1</c:v>
                </c:pt>
                <c:pt idx="17">
                  <c:v>1</c:v>
                </c:pt>
                <c:pt idx="18">
                  <c:v>2</c:v>
                </c:pt>
                <c:pt idx="19">
                  <c:v>2</c:v>
                </c:pt>
                <c:pt idx="20">
                  <c:v>0</c:v>
                </c:pt>
                <c:pt idx="21">
                  <c:v>5</c:v>
                </c:pt>
                <c:pt idx="22">
                  <c:v>2</c:v>
                </c:pt>
                <c:pt idx="23">
                  <c:v>2</c:v>
                </c:pt>
                <c:pt idx="24">
                  <c:v>0</c:v>
                </c:pt>
                <c:pt idx="25">
                  <c:v>1</c:v>
                </c:pt>
                <c:pt idx="26">
                  <c:v>2</c:v>
                </c:pt>
                <c:pt idx="27">
                  <c:v>3</c:v>
                </c:pt>
                <c:pt idx="28">
                  <c:v>1</c:v>
                </c:pt>
                <c:pt idx="29">
                  <c:v>1</c:v>
                </c:pt>
                <c:pt idx="30">
                  <c:v>1</c:v>
                </c:pt>
                <c:pt idx="31">
                  <c:v>1</c:v>
                </c:pt>
                <c:pt idx="32">
                  <c:v>1</c:v>
                </c:pt>
                <c:pt idx="33">
                  <c:v>1</c:v>
                </c:pt>
                <c:pt idx="34">
                  <c:v>2</c:v>
                </c:pt>
                <c:pt idx="35">
                  <c:v>2</c:v>
                </c:pt>
                <c:pt idx="36">
                  <c:v>2</c:v>
                </c:pt>
                <c:pt idx="37">
                  <c:v>0</c:v>
                </c:pt>
                <c:pt idx="38">
                  <c:v>1</c:v>
                </c:pt>
                <c:pt idx="39">
                  <c:v>1</c:v>
                </c:pt>
                <c:pt idx="40">
                  <c:v>1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1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1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1</c:v>
                </c:pt>
                <c:pt idx="71">
                  <c:v>0</c:v>
                </c:pt>
                <c:pt idx="72">
                  <c:v>0</c:v>
                </c:pt>
                <c:pt idx="73">
                  <c:v>1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2</c:v>
                </c:pt>
                <c:pt idx="79">
                  <c:v>0</c:v>
                </c:pt>
                <c:pt idx="80">
                  <c:v>0</c:v>
                </c:pt>
                <c:pt idx="81">
                  <c:v>2</c:v>
                </c:pt>
                <c:pt idx="82">
                  <c:v>1</c:v>
                </c:pt>
                <c:pt idx="83">
                  <c:v>0</c:v>
                </c:pt>
                <c:pt idx="84">
                  <c:v>0</c:v>
                </c:pt>
                <c:pt idx="85">
                  <c:v>2</c:v>
                </c:pt>
                <c:pt idx="86">
                  <c:v>2</c:v>
                </c:pt>
                <c:pt idx="87">
                  <c:v>1</c:v>
                </c:pt>
                <c:pt idx="88">
                  <c:v>2</c:v>
                </c:pt>
                <c:pt idx="89">
                  <c:v>2</c:v>
                </c:pt>
                <c:pt idx="90">
                  <c:v>2</c:v>
                </c:pt>
                <c:pt idx="91">
                  <c:v>4</c:v>
                </c:pt>
                <c:pt idx="92">
                  <c:v>0</c:v>
                </c:pt>
                <c:pt idx="93">
                  <c:v>0</c:v>
                </c:pt>
                <c:pt idx="94">
                  <c:v>1</c:v>
                </c:pt>
                <c:pt idx="95">
                  <c:v>3</c:v>
                </c:pt>
                <c:pt idx="96">
                  <c:v>1</c:v>
                </c:pt>
                <c:pt idx="97">
                  <c:v>1</c:v>
                </c:pt>
                <c:pt idx="98">
                  <c:v>2</c:v>
                </c:pt>
                <c:pt idx="99">
                  <c:v>2</c:v>
                </c:pt>
                <c:pt idx="100">
                  <c:v>0</c:v>
                </c:pt>
                <c:pt idx="101">
                  <c:v>0</c:v>
                </c:pt>
                <c:pt idx="102">
                  <c:v>0</c:v>
                </c:pt>
                <c:pt idx="103">
                  <c:v>0</c:v>
                </c:pt>
                <c:pt idx="104">
                  <c:v>6</c:v>
                </c:pt>
                <c:pt idx="105">
                  <c:v>1</c:v>
                </c:pt>
                <c:pt idx="106">
                  <c:v>2</c:v>
                </c:pt>
                <c:pt idx="107">
                  <c:v>0</c:v>
                </c:pt>
                <c:pt idx="108">
                  <c:v>2</c:v>
                </c:pt>
                <c:pt idx="109">
                  <c:v>2</c:v>
                </c:pt>
                <c:pt idx="110">
                  <c:v>0</c:v>
                </c:pt>
                <c:pt idx="111">
                  <c:v>3</c:v>
                </c:pt>
                <c:pt idx="112">
                  <c:v>1</c:v>
                </c:pt>
                <c:pt idx="113">
                  <c:v>1</c:v>
                </c:pt>
                <c:pt idx="114">
                  <c:v>0</c:v>
                </c:pt>
                <c:pt idx="115">
                  <c:v>0</c:v>
                </c:pt>
                <c:pt idx="116">
                  <c:v>3</c:v>
                </c:pt>
                <c:pt idx="117">
                  <c:v>0</c:v>
                </c:pt>
                <c:pt idx="118">
                  <c:v>0</c:v>
                </c:pt>
                <c:pt idx="119">
                  <c:v>1</c:v>
                </c:pt>
                <c:pt idx="120">
                  <c:v>1</c:v>
                </c:pt>
                <c:pt idx="121">
                  <c:v>0</c:v>
                </c:pt>
                <c:pt idx="122">
                  <c:v>0</c:v>
                </c:pt>
                <c:pt idx="123">
                  <c:v>2</c:v>
                </c:pt>
                <c:pt idx="124">
                  <c:v>0</c:v>
                </c:pt>
                <c:pt idx="125">
                  <c:v>1</c:v>
                </c:pt>
                <c:pt idx="126">
                  <c:v>1</c:v>
                </c:pt>
                <c:pt idx="127">
                  <c:v>1</c:v>
                </c:pt>
                <c:pt idx="128">
                  <c:v>1</c:v>
                </c:pt>
                <c:pt idx="129">
                  <c:v>0</c:v>
                </c:pt>
                <c:pt idx="130">
                  <c:v>0</c:v>
                </c:pt>
                <c:pt idx="131">
                  <c:v>4</c:v>
                </c:pt>
                <c:pt idx="132">
                  <c:v>4</c:v>
                </c:pt>
                <c:pt idx="133">
                  <c:v>1</c:v>
                </c:pt>
                <c:pt idx="134">
                  <c:v>1</c:v>
                </c:pt>
                <c:pt idx="135">
                  <c:v>3</c:v>
                </c:pt>
                <c:pt idx="136">
                  <c:v>1</c:v>
                </c:pt>
                <c:pt idx="137">
                  <c:v>0</c:v>
                </c:pt>
                <c:pt idx="138">
                  <c:v>2</c:v>
                </c:pt>
                <c:pt idx="139">
                  <c:v>0</c:v>
                </c:pt>
                <c:pt idx="140">
                  <c:v>0</c:v>
                </c:pt>
                <c:pt idx="141">
                  <c:v>3</c:v>
                </c:pt>
                <c:pt idx="142">
                  <c:v>3</c:v>
                </c:pt>
                <c:pt idx="143">
                  <c:v>0</c:v>
                </c:pt>
                <c:pt idx="144">
                  <c:v>4</c:v>
                </c:pt>
                <c:pt idx="145">
                  <c:v>2</c:v>
                </c:pt>
                <c:pt idx="146">
                  <c:v>0</c:v>
                </c:pt>
                <c:pt idx="147">
                  <c:v>1</c:v>
                </c:pt>
                <c:pt idx="148">
                  <c:v>2</c:v>
                </c:pt>
                <c:pt idx="149">
                  <c:v>1</c:v>
                </c:pt>
                <c:pt idx="150">
                  <c:v>1</c:v>
                </c:pt>
                <c:pt idx="151">
                  <c:v>0</c:v>
                </c:pt>
                <c:pt idx="152">
                  <c:v>3</c:v>
                </c:pt>
                <c:pt idx="153">
                  <c:v>3</c:v>
                </c:pt>
                <c:pt idx="154">
                  <c:v>2</c:v>
                </c:pt>
                <c:pt idx="155">
                  <c:v>3</c:v>
                </c:pt>
                <c:pt idx="156">
                  <c:v>0</c:v>
                </c:pt>
                <c:pt idx="157">
                  <c:v>2</c:v>
                </c:pt>
                <c:pt idx="158">
                  <c:v>6</c:v>
                </c:pt>
                <c:pt idx="159">
                  <c:v>4</c:v>
                </c:pt>
                <c:pt idx="160">
                  <c:v>3</c:v>
                </c:pt>
                <c:pt idx="161">
                  <c:v>9</c:v>
                </c:pt>
                <c:pt idx="162">
                  <c:v>2</c:v>
                </c:pt>
                <c:pt idx="163">
                  <c:v>5</c:v>
                </c:pt>
                <c:pt idx="164">
                  <c:v>1</c:v>
                </c:pt>
                <c:pt idx="165">
                  <c:v>0</c:v>
                </c:pt>
                <c:pt idx="166">
                  <c:v>2</c:v>
                </c:pt>
                <c:pt idx="167">
                  <c:v>5</c:v>
                </c:pt>
                <c:pt idx="168">
                  <c:v>6</c:v>
                </c:pt>
                <c:pt idx="169">
                  <c:v>6</c:v>
                </c:pt>
                <c:pt idx="170">
                  <c:v>1</c:v>
                </c:pt>
                <c:pt idx="171">
                  <c:v>1</c:v>
                </c:pt>
                <c:pt idx="172">
                  <c:v>3</c:v>
                </c:pt>
                <c:pt idx="173">
                  <c:v>10</c:v>
                </c:pt>
                <c:pt idx="174">
                  <c:v>7</c:v>
                </c:pt>
                <c:pt idx="175">
                  <c:v>7</c:v>
                </c:pt>
                <c:pt idx="176">
                  <c:v>6</c:v>
                </c:pt>
                <c:pt idx="177">
                  <c:v>5</c:v>
                </c:pt>
                <c:pt idx="178">
                  <c:v>8</c:v>
                </c:pt>
                <c:pt idx="179">
                  <c:v>17</c:v>
                </c:pt>
                <c:pt idx="180">
                  <c:v>16</c:v>
                </c:pt>
                <c:pt idx="181">
                  <c:v>13</c:v>
                </c:pt>
                <c:pt idx="182">
                  <c:v>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8FD-43E4-BA1D-0B494D841FF9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Sesterská povolání</c:v>
                </c:pt>
              </c:strCache>
            </c:strRef>
          </c:tx>
          <c:spPr>
            <a:ln w="6350" cap="rnd">
              <a:solidFill>
                <a:srgbClr val="ED7D31"/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82"/>
              <c:layout>
                <c:manualLayout>
                  <c:x val="-8.6736173798840355E-19"/>
                  <c:y val="-1.3987578141420483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l">
                    <a:defRPr sz="1200" b="1" i="0" u="none" strike="noStrike" kern="1200" baseline="0">
                      <a:solidFill>
                        <a:srgbClr val="ED7D31"/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3486906347092765"/>
                      <c:h val="7.5300289757703073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CC25-463F-AAD4-4AD72ABB962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0"/>
              <a:lstStyle/>
              <a:p>
                <a:pPr algn="l">
                  <a:defRPr sz="1200" b="0" i="0" u="none" strike="noStrike" kern="1200" baseline="0">
                    <a:solidFill>
                      <a:schemeClr val="tx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trendline>
            <c:spPr>
              <a:ln w="25400" cap="rnd">
                <a:solidFill>
                  <a:srgbClr val="ED7D3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strRef>
              <c:f>List1!$B$1:$GB$1</c:f>
              <c:strCache>
                <c:ptCount val="183"/>
                <c:pt idx="0">
                  <c:v>22.04.21</c:v>
                </c:pt>
                <c:pt idx="1">
                  <c:v>23.04.21</c:v>
                </c:pt>
                <c:pt idx="2">
                  <c:v>24.04.21</c:v>
                </c:pt>
                <c:pt idx="3">
                  <c:v>25.04.21</c:v>
                </c:pt>
                <c:pt idx="4">
                  <c:v>26.04.21</c:v>
                </c:pt>
                <c:pt idx="5">
                  <c:v>27.04.21</c:v>
                </c:pt>
                <c:pt idx="6">
                  <c:v>28.04.21</c:v>
                </c:pt>
                <c:pt idx="7">
                  <c:v>29.04.21</c:v>
                </c:pt>
                <c:pt idx="8">
                  <c:v>30.04.21</c:v>
                </c:pt>
                <c:pt idx="9">
                  <c:v>01.05.21</c:v>
                </c:pt>
                <c:pt idx="10">
                  <c:v>02.05.21</c:v>
                </c:pt>
                <c:pt idx="11">
                  <c:v>03.05.21</c:v>
                </c:pt>
                <c:pt idx="12">
                  <c:v>04.05.21</c:v>
                </c:pt>
                <c:pt idx="13">
                  <c:v>05.05.21</c:v>
                </c:pt>
                <c:pt idx="14">
                  <c:v>06.05.21</c:v>
                </c:pt>
                <c:pt idx="15">
                  <c:v>07.05.21</c:v>
                </c:pt>
                <c:pt idx="16">
                  <c:v>08.05.21</c:v>
                </c:pt>
                <c:pt idx="17">
                  <c:v>09.05.21</c:v>
                </c:pt>
                <c:pt idx="18">
                  <c:v>10.05.21</c:v>
                </c:pt>
                <c:pt idx="19">
                  <c:v>11.05.21</c:v>
                </c:pt>
                <c:pt idx="20">
                  <c:v>12.05.21</c:v>
                </c:pt>
                <c:pt idx="21">
                  <c:v>13.05.21</c:v>
                </c:pt>
                <c:pt idx="22">
                  <c:v>14.05.21</c:v>
                </c:pt>
                <c:pt idx="23">
                  <c:v>15.05.21</c:v>
                </c:pt>
                <c:pt idx="24">
                  <c:v>16.05.21</c:v>
                </c:pt>
                <c:pt idx="25">
                  <c:v>17.05.21</c:v>
                </c:pt>
                <c:pt idx="26">
                  <c:v>18.05.21</c:v>
                </c:pt>
                <c:pt idx="27">
                  <c:v>19.05.21</c:v>
                </c:pt>
                <c:pt idx="28">
                  <c:v>20.05.21</c:v>
                </c:pt>
                <c:pt idx="29">
                  <c:v>21.05.21</c:v>
                </c:pt>
                <c:pt idx="30">
                  <c:v>22.05.21</c:v>
                </c:pt>
                <c:pt idx="31">
                  <c:v>23.05.21</c:v>
                </c:pt>
                <c:pt idx="32">
                  <c:v>24.05.21</c:v>
                </c:pt>
                <c:pt idx="33">
                  <c:v>25.05.21</c:v>
                </c:pt>
                <c:pt idx="34">
                  <c:v>26.05.21</c:v>
                </c:pt>
                <c:pt idx="35">
                  <c:v>27.05.21</c:v>
                </c:pt>
                <c:pt idx="36">
                  <c:v>28.05.21</c:v>
                </c:pt>
                <c:pt idx="37">
                  <c:v>29.05.21</c:v>
                </c:pt>
                <c:pt idx="38">
                  <c:v>30.05.21</c:v>
                </c:pt>
                <c:pt idx="39">
                  <c:v>31.05.21</c:v>
                </c:pt>
                <c:pt idx="40">
                  <c:v>01.06.21</c:v>
                </c:pt>
                <c:pt idx="41">
                  <c:v>02.06.21</c:v>
                </c:pt>
                <c:pt idx="42">
                  <c:v>03.06.21</c:v>
                </c:pt>
                <c:pt idx="43">
                  <c:v>04.06.21</c:v>
                </c:pt>
                <c:pt idx="44">
                  <c:v>05.06.21</c:v>
                </c:pt>
                <c:pt idx="45">
                  <c:v>06.06.21</c:v>
                </c:pt>
                <c:pt idx="46">
                  <c:v>07.06.21</c:v>
                </c:pt>
                <c:pt idx="47">
                  <c:v>08.06.21</c:v>
                </c:pt>
                <c:pt idx="48">
                  <c:v>09.06.21</c:v>
                </c:pt>
                <c:pt idx="49">
                  <c:v>10.06.21</c:v>
                </c:pt>
                <c:pt idx="50">
                  <c:v>11.06.21</c:v>
                </c:pt>
                <c:pt idx="51">
                  <c:v>12.06.21</c:v>
                </c:pt>
                <c:pt idx="52">
                  <c:v>13.06.21</c:v>
                </c:pt>
                <c:pt idx="53">
                  <c:v>14.06.21</c:v>
                </c:pt>
                <c:pt idx="54">
                  <c:v>15.06.21</c:v>
                </c:pt>
                <c:pt idx="55">
                  <c:v>16.06.21</c:v>
                </c:pt>
                <c:pt idx="56">
                  <c:v>17.06.21</c:v>
                </c:pt>
                <c:pt idx="57">
                  <c:v>18.06.21</c:v>
                </c:pt>
                <c:pt idx="58">
                  <c:v>19.06.21</c:v>
                </c:pt>
                <c:pt idx="59">
                  <c:v>20.06.21</c:v>
                </c:pt>
                <c:pt idx="60">
                  <c:v>21.06.21</c:v>
                </c:pt>
                <c:pt idx="61">
                  <c:v>22.06.21</c:v>
                </c:pt>
                <c:pt idx="62">
                  <c:v>23.06.21</c:v>
                </c:pt>
                <c:pt idx="63">
                  <c:v>24.06.21</c:v>
                </c:pt>
                <c:pt idx="64">
                  <c:v>25.06.21</c:v>
                </c:pt>
                <c:pt idx="65">
                  <c:v>26.06.21</c:v>
                </c:pt>
                <c:pt idx="66">
                  <c:v>27.06.21</c:v>
                </c:pt>
                <c:pt idx="67">
                  <c:v>28.06.21</c:v>
                </c:pt>
                <c:pt idx="68">
                  <c:v>29.06.21</c:v>
                </c:pt>
                <c:pt idx="69">
                  <c:v>30.06.21</c:v>
                </c:pt>
                <c:pt idx="70">
                  <c:v>01.07.21</c:v>
                </c:pt>
                <c:pt idx="71">
                  <c:v>02.07.21</c:v>
                </c:pt>
                <c:pt idx="72">
                  <c:v>03.07.21</c:v>
                </c:pt>
                <c:pt idx="73">
                  <c:v>04.07.21</c:v>
                </c:pt>
                <c:pt idx="74">
                  <c:v>05.07.21</c:v>
                </c:pt>
                <c:pt idx="75">
                  <c:v>06.07.21</c:v>
                </c:pt>
                <c:pt idx="76">
                  <c:v>07.07.21</c:v>
                </c:pt>
                <c:pt idx="77">
                  <c:v>08.07.21</c:v>
                </c:pt>
                <c:pt idx="78">
                  <c:v>09.07.21</c:v>
                </c:pt>
                <c:pt idx="79">
                  <c:v>10.07.21</c:v>
                </c:pt>
                <c:pt idx="80">
                  <c:v>11.07.21</c:v>
                </c:pt>
                <c:pt idx="81">
                  <c:v>12.07.21</c:v>
                </c:pt>
                <c:pt idx="82">
                  <c:v>13.07.21</c:v>
                </c:pt>
                <c:pt idx="83">
                  <c:v>14.07.21</c:v>
                </c:pt>
                <c:pt idx="84">
                  <c:v>15.07.21</c:v>
                </c:pt>
                <c:pt idx="85">
                  <c:v>16.07.21</c:v>
                </c:pt>
                <c:pt idx="86">
                  <c:v>17.07.21</c:v>
                </c:pt>
                <c:pt idx="87">
                  <c:v>18.07.21</c:v>
                </c:pt>
                <c:pt idx="88">
                  <c:v>19.07.21</c:v>
                </c:pt>
                <c:pt idx="89">
                  <c:v>20.07.21</c:v>
                </c:pt>
                <c:pt idx="90">
                  <c:v>21.07.21</c:v>
                </c:pt>
                <c:pt idx="91">
                  <c:v>22.07.21</c:v>
                </c:pt>
                <c:pt idx="92">
                  <c:v>23.07.21</c:v>
                </c:pt>
                <c:pt idx="93">
                  <c:v>24.07.21</c:v>
                </c:pt>
                <c:pt idx="94">
                  <c:v>25.07.21</c:v>
                </c:pt>
                <c:pt idx="95">
                  <c:v>26.07.21</c:v>
                </c:pt>
                <c:pt idx="96">
                  <c:v>27.07.21</c:v>
                </c:pt>
                <c:pt idx="97">
                  <c:v>28.07.21</c:v>
                </c:pt>
                <c:pt idx="98">
                  <c:v>29.07.21</c:v>
                </c:pt>
                <c:pt idx="99">
                  <c:v>30.07.21</c:v>
                </c:pt>
                <c:pt idx="100">
                  <c:v>31.07.21</c:v>
                </c:pt>
                <c:pt idx="101">
                  <c:v>01.08.21</c:v>
                </c:pt>
                <c:pt idx="102">
                  <c:v>02.08.21</c:v>
                </c:pt>
                <c:pt idx="103">
                  <c:v>03.08.21</c:v>
                </c:pt>
                <c:pt idx="104">
                  <c:v>04.08.21</c:v>
                </c:pt>
                <c:pt idx="105">
                  <c:v>05.08.21</c:v>
                </c:pt>
                <c:pt idx="106">
                  <c:v>06.08.21</c:v>
                </c:pt>
                <c:pt idx="107">
                  <c:v>07.08.21</c:v>
                </c:pt>
                <c:pt idx="108">
                  <c:v>08.08.21</c:v>
                </c:pt>
                <c:pt idx="109">
                  <c:v>09.08.21</c:v>
                </c:pt>
                <c:pt idx="110">
                  <c:v>10.08.21</c:v>
                </c:pt>
                <c:pt idx="111">
                  <c:v>11.08.21</c:v>
                </c:pt>
                <c:pt idx="112">
                  <c:v>12.08.21</c:v>
                </c:pt>
                <c:pt idx="113">
                  <c:v>13.08.21</c:v>
                </c:pt>
                <c:pt idx="114">
                  <c:v>14.08.21</c:v>
                </c:pt>
                <c:pt idx="115">
                  <c:v>15.08.21</c:v>
                </c:pt>
                <c:pt idx="116">
                  <c:v>16.08.21</c:v>
                </c:pt>
                <c:pt idx="117">
                  <c:v>17.08.21</c:v>
                </c:pt>
                <c:pt idx="118">
                  <c:v>18.08.21</c:v>
                </c:pt>
                <c:pt idx="119">
                  <c:v>19.08.21</c:v>
                </c:pt>
                <c:pt idx="120">
                  <c:v>20.08.21</c:v>
                </c:pt>
                <c:pt idx="121">
                  <c:v>21.08.21</c:v>
                </c:pt>
                <c:pt idx="122">
                  <c:v>22.08.21</c:v>
                </c:pt>
                <c:pt idx="123">
                  <c:v>23.08.21</c:v>
                </c:pt>
                <c:pt idx="124">
                  <c:v>24.08.21</c:v>
                </c:pt>
                <c:pt idx="125">
                  <c:v>25.08.21</c:v>
                </c:pt>
                <c:pt idx="126">
                  <c:v>26.08.21</c:v>
                </c:pt>
                <c:pt idx="127">
                  <c:v>27.08.21</c:v>
                </c:pt>
                <c:pt idx="128">
                  <c:v>28.08.21</c:v>
                </c:pt>
                <c:pt idx="129">
                  <c:v>29.08.21</c:v>
                </c:pt>
                <c:pt idx="130">
                  <c:v>30.08.21</c:v>
                </c:pt>
                <c:pt idx="131">
                  <c:v>31.08.21</c:v>
                </c:pt>
                <c:pt idx="132">
                  <c:v>01.09.21</c:v>
                </c:pt>
                <c:pt idx="133">
                  <c:v>02.09.21</c:v>
                </c:pt>
                <c:pt idx="134">
                  <c:v>03.09.21</c:v>
                </c:pt>
                <c:pt idx="135">
                  <c:v>04.09.21</c:v>
                </c:pt>
                <c:pt idx="136">
                  <c:v>05.09.21</c:v>
                </c:pt>
                <c:pt idx="137">
                  <c:v>06.09.21</c:v>
                </c:pt>
                <c:pt idx="138">
                  <c:v>07.09.21</c:v>
                </c:pt>
                <c:pt idx="139">
                  <c:v>08.09.21</c:v>
                </c:pt>
                <c:pt idx="140">
                  <c:v>09.09.21</c:v>
                </c:pt>
                <c:pt idx="141">
                  <c:v>10.09.21</c:v>
                </c:pt>
                <c:pt idx="142">
                  <c:v>11.09.21</c:v>
                </c:pt>
                <c:pt idx="143">
                  <c:v>12.09.21</c:v>
                </c:pt>
                <c:pt idx="144">
                  <c:v>13.09.21</c:v>
                </c:pt>
                <c:pt idx="145">
                  <c:v>14.09.21</c:v>
                </c:pt>
                <c:pt idx="146">
                  <c:v>15.09.21</c:v>
                </c:pt>
                <c:pt idx="147">
                  <c:v>16.09.21</c:v>
                </c:pt>
                <c:pt idx="148">
                  <c:v>17.09.21</c:v>
                </c:pt>
                <c:pt idx="149">
                  <c:v>18.09.21</c:v>
                </c:pt>
                <c:pt idx="150">
                  <c:v>19.09.21</c:v>
                </c:pt>
                <c:pt idx="151">
                  <c:v>20.09.21</c:v>
                </c:pt>
                <c:pt idx="152">
                  <c:v>21.09.21</c:v>
                </c:pt>
                <c:pt idx="153">
                  <c:v>22.09.21</c:v>
                </c:pt>
                <c:pt idx="154">
                  <c:v>23.09.21</c:v>
                </c:pt>
                <c:pt idx="155">
                  <c:v>24.09.21</c:v>
                </c:pt>
                <c:pt idx="156">
                  <c:v>25.09.21</c:v>
                </c:pt>
                <c:pt idx="157">
                  <c:v>26.09.21</c:v>
                </c:pt>
                <c:pt idx="158">
                  <c:v>27.09.21</c:v>
                </c:pt>
                <c:pt idx="159">
                  <c:v>28.09.21</c:v>
                </c:pt>
                <c:pt idx="160">
                  <c:v>29.09.21</c:v>
                </c:pt>
                <c:pt idx="161">
                  <c:v>30.09.21</c:v>
                </c:pt>
                <c:pt idx="162">
                  <c:v>01.10.21</c:v>
                </c:pt>
                <c:pt idx="163">
                  <c:v>02.10.21</c:v>
                </c:pt>
                <c:pt idx="164">
                  <c:v>03.10.21</c:v>
                </c:pt>
                <c:pt idx="165">
                  <c:v>04.10.21</c:v>
                </c:pt>
                <c:pt idx="166">
                  <c:v>05.10.21</c:v>
                </c:pt>
                <c:pt idx="167">
                  <c:v>06.10.21</c:v>
                </c:pt>
                <c:pt idx="168">
                  <c:v>07.10.21</c:v>
                </c:pt>
                <c:pt idx="169">
                  <c:v>08.10.21</c:v>
                </c:pt>
                <c:pt idx="170">
                  <c:v>09.10.21</c:v>
                </c:pt>
                <c:pt idx="171">
                  <c:v>10.10.21</c:v>
                </c:pt>
                <c:pt idx="172">
                  <c:v>11.10.21</c:v>
                </c:pt>
                <c:pt idx="173">
                  <c:v>12.10.21</c:v>
                </c:pt>
                <c:pt idx="174">
                  <c:v>13.10.21</c:v>
                </c:pt>
                <c:pt idx="175">
                  <c:v>14.10.21</c:v>
                </c:pt>
                <c:pt idx="176">
                  <c:v>15.10.21</c:v>
                </c:pt>
                <c:pt idx="177">
                  <c:v>16.10.21</c:v>
                </c:pt>
                <c:pt idx="178">
                  <c:v>17.10.21</c:v>
                </c:pt>
                <c:pt idx="179">
                  <c:v>18.10.21</c:v>
                </c:pt>
                <c:pt idx="180">
                  <c:v>19.10.21</c:v>
                </c:pt>
                <c:pt idx="181">
                  <c:v>20.10.21</c:v>
                </c:pt>
                <c:pt idx="182">
                  <c:v>21.10.21</c:v>
                </c:pt>
              </c:strCache>
            </c:strRef>
          </c:cat>
          <c:val>
            <c:numRef>
              <c:f>List1!$B$3:$GB$3</c:f>
              <c:numCache>
                <c:formatCode>General</c:formatCode>
                <c:ptCount val="183"/>
                <c:pt idx="0">
                  <c:v>13</c:v>
                </c:pt>
                <c:pt idx="1">
                  <c:v>10</c:v>
                </c:pt>
                <c:pt idx="2">
                  <c:v>8</c:v>
                </c:pt>
                <c:pt idx="3">
                  <c:v>4</c:v>
                </c:pt>
                <c:pt idx="4">
                  <c:v>11</c:v>
                </c:pt>
                <c:pt idx="5">
                  <c:v>11</c:v>
                </c:pt>
                <c:pt idx="6">
                  <c:v>6</c:v>
                </c:pt>
                <c:pt idx="7">
                  <c:v>15</c:v>
                </c:pt>
                <c:pt idx="8">
                  <c:v>18</c:v>
                </c:pt>
                <c:pt idx="9">
                  <c:v>5</c:v>
                </c:pt>
                <c:pt idx="10">
                  <c:v>4</c:v>
                </c:pt>
                <c:pt idx="11">
                  <c:v>18</c:v>
                </c:pt>
                <c:pt idx="12">
                  <c:v>13</c:v>
                </c:pt>
                <c:pt idx="13">
                  <c:v>11</c:v>
                </c:pt>
                <c:pt idx="14">
                  <c:v>6</c:v>
                </c:pt>
                <c:pt idx="15">
                  <c:v>13</c:v>
                </c:pt>
                <c:pt idx="16">
                  <c:v>4</c:v>
                </c:pt>
                <c:pt idx="17">
                  <c:v>3</c:v>
                </c:pt>
                <c:pt idx="18">
                  <c:v>10</c:v>
                </c:pt>
                <c:pt idx="19">
                  <c:v>18</c:v>
                </c:pt>
                <c:pt idx="20">
                  <c:v>6</c:v>
                </c:pt>
                <c:pt idx="21">
                  <c:v>9</c:v>
                </c:pt>
                <c:pt idx="22">
                  <c:v>7</c:v>
                </c:pt>
                <c:pt idx="23">
                  <c:v>1</c:v>
                </c:pt>
                <c:pt idx="24">
                  <c:v>1</c:v>
                </c:pt>
                <c:pt idx="25">
                  <c:v>7</c:v>
                </c:pt>
                <c:pt idx="26">
                  <c:v>3</c:v>
                </c:pt>
                <c:pt idx="27">
                  <c:v>2</c:v>
                </c:pt>
                <c:pt idx="28">
                  <c:v>6</c:v>
                </c:pt>
                <c:pt idx="29">
                  <c:v>3</c:v>
                </c:pt>
                <c:pt idx="30">
                  <c:v>3</c:v>
                </c:pt>
                <c:pt idx="31">
                  <c:v>0</c:v>
                </c:pt>
                <c:pt idx="32">
                  <c:v>3</c:v>
                </c:pt>
                <c:pt idx="33">
                  <c:v>4</c:v>
                </c:pt>
                <c:pt idx="34">
                  <c:v>6</c:v>
                </c:pt>
                <c:pt idx="35">
                  <c:v>2</c:v>
                </c:pt>
                <c:pt idx="36">
                  <c:v>3</c:v>
                </c:pt>
                <c:pt idx="37">
                  <c:v>0</c:v>
                </c:pt>
                <c:pt idx="38">
                  <c:v>0</c:v>
                </c:pt>
                <c:pt idx="39">
                  <c:v>3</c:v>
                </c:pt>
                <c:pt idx="40">
                  <c:v>1</c:v>
                </c:pt>
                <c:pt idx="41">
                  <c:v>0</c:v>
                </c:pt>
                <c:pt idx="42">
                  <c:v>5</c:v>
                </c:pt>
                <c:pt idx="43">
                  <c:v>1</c:v>
                </c:pt>
                <c:pt idx="44">
                  <c:v>0</c:v>
                </c:pt>
                <c:pt idx="45">
                  <c:v>1</c:v>
                </c:pt>
                <c:pt idx="46">
                  <c:v>1</c:v>
                </c:pt>
                <c:pt idx="47">
                  <c:v>1</c:v>
                </c:pt>
                <c:pt idx="48">
                  <c:v>1</c:v>
                </c:pt>
                <c:pt idx="49">
                  <c:v>1</c:v>
                </c:pt>
                <c:pt idx="50">
                  <c:v>0</c:v>
                </c:pt>
                <c:pt idx="51">
                  <c:v>1</c:v>
                </c:pt>
                <c:pt idx="52">
                  <c:v>2</c:v>
                </c:pt>
                <c:pt idx="53">
                  <c:v>1</c:v>
                </c:pt>
                <c:pt idx="54">
                  <c:v>0</c:v>
                </c:pt>
                <c:pt idx="55">
                  <c:v>0</c:v>
                </c:pt>
                <c:pt idx="56">
                  <c:v>2</c:v>
                </c:pt>
                <c:pt idx="57">
                  <c:v>3</c:v>
                </c:pt>
                <c:pt idx="58">
                  <c:v>1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1</c:v>
                </c:pt>
                <c:pt idx="64">
                  <c:v>0</c:v>
                </c:pt>
                <c:pt idx="65">
                  <c:v>0</c:v>
                </c:pt>
                <c:pt idx="66">
                  <c:v>1</c:v>
                </c:pt>
                <c:pt idx="67">
                  <c:v>1</c:v>
                </c:pt>
                <c:pt idx="68">
                  <c:v>2</c:v>
                </c:pt>
                <c:pt idx="69">
                  <c:v>0</c:v>
                </c:pt>
                <c:pt idx="70">
                  <c:v>1</c:v>
                </c:pt>
                <c:pt idx="71">
                  <c:v>2</c:v>
                </c:pt>
                <c:pt idx="72">
                  <c:v>0</c:v>
                </c:pt>
                <c:pt idx="73">
                  <c:v>1</c:v>
                </c:pt>
                <c:pt idx="74">
                  <c:v>4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1</c:v>
                </c:pt>
                <c:pt idx="79">
                  <c:v>0</c:v>
                </c:pt>
                <c:pt idx="80">
                  <c:v>0</c:v>
                </c:pt>
                <c:pt idx="81">
                  <c:v>2</c:v>
                </c:pt>
                <c:pt idx="82">
                  <c:v>3</c:v>
                </c:pt>
                <c:pt idx="83">
                  <c:v>2</c:v>
                </c:pt>
                <c:pt idx="84">
                  <c:v>2</c:v>
                </c:pt>
                <c:pt idx="85">
                  <c:v>0</c:v>
                </c:pt>
                <c:pt idx="86">
                  <c:v>0</c:v>
                </c:pt>
                <c:pt idx="87">
                  <c:v>1</c:v>
                </c:pt>
                <c:pt idx="88">
                  <c:v>4</c:v>
                </c:pt>
                <c:pt idx="89">
                  <c:v>0</c:v>
                </c:pt>
                <c:pt idx="90">
                  <c:v>4</c:v>
                </c:pt>
                <c:pt idx="91">
                  <c:v>0</c:v>
                </c:pt>
                <c:pt idx="92">
                  <c:v>4</c:v>
                </c:pt>
                <c:pt idx="93">
                  <c:v>1</c:v>
                </c:pt>
                <c:pt idx="94">
                  <c:v>1</c:v>
                </c:pt>
                <c:pt idx="95">
                  <c:v>3</c:v>
                </c:pt>
                <c:pt idx="96">
                  <c:v>0</c:v>
                </c:pt>
                <c:pt idx="97">
                  <c:v>0</c:v>
                </c:pt>
                <c:pt idx="98">
                  <c:v>1</c:v>
                </c:pt>
                <c:pt idx="99">
                  <c:v>1</c:v>
                </c:pt>
                <c:pt idx="100">
                  <c:v>1</c:v>
                </c:pt>
                <c:pt idx="101">
                  <c:v>0</c:v>
                </c:pt>
                <c:pt idx="102">
                  <c:v>0</c:v>
                </c:pt>
                <c:pt idx="103">
                  <c:v>2</c:v>
                </c:pt>
                <c:pt idx="104">
                  <c:v>1</c:v>
                </c:pt>
                <c:pt idx="105">
                  <c:v>0</c:v>
                </c:pt>
                <c:pt idx="106">
                  <c:v>1</c:v>
                </c:pt>
                <c:pt idx="107">
                  <c:v>0</c:v>
                </c:pt>
                <c:pt idx="108">
                  <c:v>0</c:v>
                </c:pt>
                <c:pt idx="109">
                  <c:v>2</c:v>
                </c:pt>
                <c:pt idx="110">
                  <c:v>2</c:v>
                </c:pt>
                <c:pt idx="111">
                  <c:v>2</c:v>
                </c:pt>
                <c:pt idx="112">
                  <c:v>1</c:v>
                </c:pt>
                <c:pt idx="113">
                  <c:v>2</c:v>
                </c:pt>
                <c:pt idx="114">
                  <c:v>3</c:v>
                </c:pt>
                <c:pt idx="115">
                  <c:v>1</c:v>
                </c:pt>
                <c:pt idx="116">
                  <c:v>3</c:v>
                </c:pt>
                <c:pt idx="117">
                  <c:v>3</c:v>
                </c:pt>
                <c:pt idx="118">
                  <c:v>2</c:v>
                </c:pt>
                <c:pt idx="119">
                  <c:v>1</c:v>
                </c:pt>
                <c:pt idx="120">
                  <c:v>0</c:v>
                </c:pt>
                <c:pt idx="121">
                  <c:v>0</c:v>
                </c:pt>
                <c:pt idx="122">
                  <c:v>0</c:v>
                </c:pt>
                <c:pt idx="123">
                  <c:v>4</c:v>
                </c:pt>
                <c:pt idx="124">
                  <c:v>2</c:v>
                </c:pt>
                <c:pt idx="125">
                  <c:v>0</c:v>
                </c:pt>
                <c:pt idx="126">
                  <c:v>2</c:v>
                </c:pt>
                <c:pt idx="127">
                  <c:v>1</c:v>
                </c:pt>
                <c:pt idx="128">
                  <c:v>2</c:v>
                </c:pt>
                <c:pt idx="129">
                  <c:v>1</c:v>
                </c:pt>
                <c:pt idx="130">
                  <c:v>0</c:v>
                </c:pt>
                <c:pt idx="131">
                  <c:v>2</c:v>
                </c:pt>
                <c:pt idx="132">
                  <c:v>1</c:v>
                </c:pt>
                <c:pt idx="133">
                  <c:v>5</c:v>
                </c:pt>
                <c:pt idx="134">
                  <c:v>6</c:v>
                </c:pt>
                <c:pt idx="135">
                  <c:v>1</c:v>
                </c:pt>
                <c:pt idx="136">
                  <c:v>0</c:v>
                </c:pt>
                <c:pt idx="137">
                  <c:v>2</c:v>
                </c:pt>
                <c:pt idx="138">
                  <c:v>5</c:v>
                </c:pt>
                <c:pt idx="139">
                  <c:v>1</c:v>
                </c:pt>
                <c:pt idx="140">
                  <c:v>4</c:v>
                </c:pt>
                <c:pt idx="141">
                  <c:v>0</c:v>
                </c:pt>
                <c:pt idx="142">
                  <c:v>1</c:v>
                </c:pt>
                <c:pt idx="143">
                  <c:v>2</c:v>
                </c:pt>
                <c:pt idx="144">
                  <c:v>3</c:v>
                </c:pt>
                <c:pt idx="145">
                  <c:v>3</c:v>
                </c:pt>
                <c:pt idx="146">
                  <c:v>3</c:v>
                </c:pt>
                <c:pt idx="147">
                  <c:v>7</c:v>
                </c:pt>
                <c:pt idx="148">
                  <c:v>5</c:v>
                </c:pt>
                <c:pt idx="149">
                  <c:v>2</c:v>
                </c:pt>
                <c:pt idx="150">
                  <c:v>2</c:v>
                </c:pt>
                <c:pt idx="151">
                  <c:v>10</c:v>
                </c:pt>
                <c:pt idx="152">
                  <c:v>7</c:v>
                </c:pt>
                <c:pt idx="153">
                  <c:v>6</c:v>
                </c:pt>
                <c:pt idx="154">
                  <c:v>5</c:v>
                </c:pt>
                <c:pt idx="155">
                  <c:v>7</c:v>
                </c:pt>
                <c:pt idx="156">
                  <c:v>6</c:v>
                </c:pt>
                <c:pt idx="157">
                  <c:v>6</c:v>
                </c:pt>
                <c:pt idx="158">
                  <c:v>5</c:v>
                </c:pt>
                <c:pt idx="159">
                  <c:v>7</c:v>
                </c:pt>
                <c:pt idx="160">
                  <c:v>12</c:v>
                </c:pt>
                <c:pt idx="161">
                  <c:v>15</c:v>
                </c:pt>
                <c:pt idx="162">
                  <c:v>7</c:v>
                </c:pt>
                <c:pt idx="163">
                  <c:v>5</c:v>
                </c:pt>
                <c:pt idx="164">
                  <c:v>8</c:v>
                </c:pt>
                <c:pt idx="165">
                  <c:v>10</c:v>
                </c:pt>
                <c:pt idx="166">
                  <c:v>12</c:v>
                </c:pt>
                <c:pt idx="167">
                  <c:v>9</c:v>
                </c:pt>
                <c:pt idx="168">
                  <c:v>8</c:v>
                </c:pt>
                <c:pt idx="169">
                  <c:v>8</c:v>
                </c:pt>
                <c:pt idx="170">
                  <c:v>5</c:v>
                </c:pt>
                <c:pt idx="171">
                  <c:v>4</c:v>
                </c:pt>
                <c:pt idx="172">
                  <c:v>16</c:v>
                </c:pt>
                <c:pt idx="173">
                  <c:v>17</c:v>
                </c:pt>
                <c:pt idx="174">
                  <c:v>20</c:v>
                </c:pt>
                <c:pt idx="175">
                  <c:v>17</c:v>
                </c:pt>
                <c:pt idx="176">
                  <c:v>17</c:v>
                </c:pt>
                <c:pt idx="177">
                  <c:v>10</c:v>
                </c:pt>
                <c:pt idx="178">
                  <c:v>10</c:v>
                </c:pt>
                <c:pt idx="179">
                  <c:v>32</c:v>
                </c:pt>
                <c:pt idx="180">
                  <c:v>25</c:v>
                </c:pt>
                <c:pt idx="181">
                  <c:v>23</c:v>
                </c:pt>
                <c:pt idx="182">
                  <c:v>4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8FD-43E4-BA1D-0B494D841FF9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Ostatní zdravotničtí pracovníci</c:v>
                </c:pt>
              </c:strCache>
            </c:strRef>
          </c:tx>
          <c:spPr>
            <a:ln w="6350" cap="rnd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82"/>
              <c:layout>
                <c:manualLayout>
                  <c:x val="-1.3019527064393282E-16"/>
                  <c:y val="1.8650318347986427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l">
                    <a:defRPr sz="1200" b="1" i="0" u="none" strike="noStrike" kern="1200" baseline="0">
                      <a:solidFill>
                        <a:schemeClr val="bg1">
                          <a:lumMod val="50000"/>
                        </a:schemeClr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601304996662368"/>
                      <c:h val="7.5300289757703073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6-CC25-463F-AAD4-4AD72ABB962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trendline>
            <c:spPr>
              <a:ln w="25400" cap="rnd">
                <a:solidFill>
                  <a:srgbClr val="A6A6A6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strRef>
              <c:f>List1!$B$1:$GB$1</c:f>
              <c:strCache>
                <c:ptCount val="183"/>
                <c:pt idx="0">
                  <c:v>22.04.21</c:v>
                </c:pt>
                <c:pt idx="1">
                  <c:v>23.04.21</c:v>
                </c:pt>
                <c:pt idx="2">
                  <c:v>24.04.21</c:v>
                </c:pt>
                <c:pt idx="3">
                  <c:v>25.04.21</c:v>
                </c:pt>
                <c:pt idx="4">
                  <c:v>26.04.21</c:v>
                </c:pt>
                <c:pt idx="5">
                  <c:v>27.04.21</c:v>
                </c:pt>
                <c:pt idx="6">
                  <c:v>28.04.21</c:v>
                </c:pt>
                <c:pt idx="7">
                  <c:v>29.04.21</c:v>
                </c:pt>
                <c:pt idx="8">
                  <c:v>30.04.21</c:v>
                </c:pt>
                <c:pt idx="9">
                  <c:v>01.05.21</c:v>
                </c:pt>
                <c:pt idx="10">
                  <c:v>02.05.21</c:v>
                </c:pt>
                <c:pt idx="11">
                  <c:v>03.05.21</c:v>
                </c:pt>
                <c:pt idx="12">
                  <c:v>04.05.21</c:v>
                </c:pt>
                <c:pt idx="13">
                  <c:v>05.05.21</c:v>
                </c:pt>
                <c:pt idx="14">
                  <c:v>06.05.21</c:v>
                </c:pt>
                <c:pt idx="15">
                  <c:v>07.05.21</c:v>
                </c:pt>
                <c:pt idx="16">
                  <c:v>08.05.21</c:v>
                </c:pt>
                <c:pt idx="17">
                  <c:v>09.05.21</c:v>
                </c:pt>
                <c:pt idx="18">
                  <c:v>10.05.21</c:v>
                </c:pt>
                <c:pt idx="19">
                  <c:v>11.05.21</c:v>
                </c:pt>
                <c:pt idx="20">
                  <c:v>12.05.21</c:v>
                </c:pt>
                <c:pt idx="21">
                  <c:v>13.05.21</c:v>
                </c:pt>
                <c:pt idx="22">
                  <c:v>14.05.21</c:v>
                </c:pt>
                <c:pt idx="23">
                  <c:v>15.05.21</c:v>
                </c:pt>
                <c:pt idx="24">
                  <c:v>16.05.21</c:v>
                </c:pt>
                <c:pt idx="25">
                  <c:v>17.05.21</c:v>
                </c:pt>
                <c:pt idx="26">
                  <c:v>18.05.21</c:v>
                </c:pt>
                <c:pt idx="27">
                  <c:v>19.05.21</c:v>
                </c:pt>
                <c:pt idx="28">
                  <c:v>20.05.21</c:v>
                </c:pt>
                <c:pt idx="29">
                  <c:v>21.05.21</c:v>
                </c:pt>
                <c:pt idx="30">
                  <c:v>22.05.21</c:v>
                </c:pt>
                <c:pt idx="31">
                  <c:v>23.05.21</c:v>
                </c:pt>
                <c:pt idx="32">
                  <c:v>24.05.21</c:v>
                </c:pt>
                <c:pt idx="33">
                  <c:v>25.05.21</c:v>
                </c:pt>
                <c:pt idx="34">
                  <c:v>26.05.21</c:v>
                </c:pt>
                <c:pt idx="35">
                  <c:v>27.05.21</c:v>
                </c:pt>
                <c:pt idx="36">
                  <c:v>28.05.21</c:v>
                </c:pt>
                <c:pt idx="37">
                  <c:v>29.05.21</c:v>
                </c:pt>
                <c:pt idx="38">
                  <c:v>30.05.21</c:v>
                </c:pt>
                <c:pt idx="39">
                  <c:v>31.05.21</c:v>
                </c:pt>
                <c:pt idx="40">
                  <c:v>01.06.21</c:v>
                </c:pt>
                <c:pt idx="41">
                  <c:v>02.06.21</c:v>
                </c:pt>
                <c:pt idx="42">
                  <c:v>03.06.21</c:v>
                </c:pt>
                <c:pt idx="43">
                  <c:v>04.06.21</c:v>
                </c:pt>
                <c:pt idx="44">
                  <c:v>05.06.21</c:v>
                </c:pt>
                <c:pt idx="45">
                  <c:v>06.06.21</c:v>
                </c:pt>
                <c:pt idx="46">
                  <c:v>07.06.21</c:v>
                </c:pt>
                <c:pt idx="47">
                  <c:v>08.06.21</c:v>
                </c:pt>
                <c:pt idx="48">
                  <c:v>09.06.21</c:v>
                </c:pt>
                <c:pt idx="49">
                  <c:v>10.06.21</c:v>
                </c:pt>
                <c:pt idx="50">
                  <c:v>11.06.21</c:v>
                </c:pt>
                <c:pt idx="51">
                  <c:v>12.06.21</c:v>
                </c:pt>
                <c:pt idx="52">
                  <c:v>13.06.21</c:v>
                </c:pt>
                <c:pt idx="53">
                  <c:v>14.06.21</c:v>
                </c:pt>
                <c:pt idx="54">
                  <c:v>15.06.21</c:v>
                </c:pt>
                <c:pt idx="55">
                  <c:v>16.06.21</c:v>
                </c:pt>
                <c:pt idx="56">
                  <c:v>17.06.21</c:v>
                </c:pt>
                <c:pt idx="57">
                  <c:v>18.06.21</c:v>
                </c:pt>
                <c:pt idx="58">
                  <c:v>19.06.21</c:v>
                </c:pt>
                <c:pt idx="59">
                  <c:v>20.06.21</c:v>
                </c:pt>
                <c:pt idx="60">
                  <c:v>21.06.21</c:v>
                </c:pt>
                <c:pt idx="61">
                  <c:v>22.06.21</c:v>
                </c:pt>
                <c:pt idx="62">
                  <c:v>23.06.21</c:v>
                </c:pt>
                <c:pt idx="63">
                  <c:v>24.06.21</c:v>
                </c:pt>
                <c:pt idx="64">
                  <c:v>25.06.21</c:v>
                </c:pt>
                <c:pt idx="65">
                  <c:v>26.06.21</c:v>
                </c:pt>
                <c:pt idx="66">
                  <c:v>27.06.21</c:v>
                </c:pt>
                <c:pt idx="67">
                  <c:v>28.06.21</c:v>
                </c:pt>
                <c:pt idx="68">
                  <c:v>29.06.21</c:v>
                </c:pt>
                <c:pt idx="69">
                  <c:v>30.06.21</c:v>
                </c:pt>
                <c:pt idx="70">
                  <c:v>01.07.21</c:v>
                </c:pt>
                <c:pt idx="71">
                  <c:v>02.07.21</c:v>
                </c:pt>
                <c:pt idx="72">
                  <c:v>03.07.21</c:v>
                </c:pt>
                <c:pt idx="73">
                  <c:v>04.07.21</c:v>
                </c:pt>
                <c:pt idx="74">
                  <c:v>05.07.21</c:v>
                </c:pt>
                <c:pt idx="75">
                  <c:v>06.07.21</c:v>
                </c:pt>
                <c:pt idx="76">
                  <c:v>07.07.21</c:v>
                </c:pt>
                <c:pt idx="77">
                  <c:v>08.07.21</c:v>
                </c:pt>
                <c:pt idx="78">
                  <c:v>09.07.21</c:v>
                </c:pt>
                <c:pt idx="79">
                  <c:v>10.07.21</c:v>
                </c:pt>
                <c:pt idx="80">
                  <c:v>11.07.21</c:v>
                </c:pt>
                <c:pt idx="81">
                  <c:v>12.07.21</c:v>
                </c:pt>
                <c:pt idx="82">
                  <c:v>13.07.21</c:v>
                </c:pt>
                <c:pt idx="83">
                  <c:v>14.07.21</c:v>
                </c:pt>
                <c:pt idx="84">
                  <c:v>15.07.21</c:v>
                </c:pt>
                <c:pt idx="85">
                  <c:v>16.07.21</c:v>
                </c:pt>
                <c:pt idx="86">
                  <c:v>17.07.21</c:v>
                </c:pt>
                <c:pt idx="87">
                  <c:v>18.07.21</c:v>
                </c:pt>
                <c:pt idx="88">
                  <c:v>19.07.21</c:v>
                </c:pt>
                <c:pt idx="89">
                  <c:v>20.07.21</c:v>
                </c:pt>
                <c:pt idx="90">
                  <c:v>21.07.21</c:v>
                </c:pt>
                <c:pt idx="91">
                  <c:v>22.07.21</c:v>
                </c:pt>
                <c:pt idx="92">
                  <c:v>23.07.21</c:v>
                </c:pt>
                <c:pt idx="93">
                  <c:v>24.07.21</c:v>
                </c:pt>
                <c:pt idx="94">
                  <c:v>25.07.21</c:v>
                </c:pt>
                <c:pt idx="95">
                  <c:v>26.07.21</c:v>
                </c:pt>
                <c:pt idx="96">
                  <c:v>27.07.21</c:v>
                </c:pt>
                <c:pt idx="97">
                  <c:v>28.07.21</c:v>
                </c:pt>
                <c:pt idx="98">
                  <c:v>29.07.21</c:v>
                </c:pt>
                <c:pt idx="99">
                  <c:v>30.07.21</c:v>
                </c:pt>
                <c:pt idx="100">
                  <c:v>31.07.21</c:v>
                </c:pt>
                <c:pt idx="101">
                  <c:v>01.08.21</c:v>
                </c:pt>
                <c:pt idx="102">
                  <c:v>02.08.21</c:v>
                </c:pt>
                <c:pt idx="103">
                  <c:v>03.08.21</c:v>
                </c:pt>
                <c:pt idx="104">
                  <c:v>04.08.21</c:v>
                </c:pt>
                <c:pt idx="105">
                  <c:v>05.08.21</c:v>
                </c:pt>
                <c:pt idx="106">
                  <c:v>06.08.21</c:v>
                </c:pt>
                <c:pt idx="107">
                  <c:v>07.08.21</c:v>
                </c:pt>
                <c:pt idx="108">
                  <c:v>08.08.21</c:v>
                </c:pt>
                <c:pt idx="109">
                  <c:v>09.08.21</c:v>
                </c:pt>
                <c:pt idx="110">
                  <c:v>10.08.21</c:v>
                </c:pt>
                <c:pt idx="111">
                  <c:v>11.08.21</c:v>
                </c:pt>
                <c:pt idx="112">
                  <c:v>12.08.21</c:v>
                </c:pt>
                <c:pt idx="113">
                  <c:v>13.08.21</c:v>
                </c:pt>
                <c:pt idx="114">
                  <c:v>14.08.21</c:v>
                </c:pt>
                <c:pt idx="115">
                  <c:v>15.08.21</c:v>
                </c:pt>
                <c:pt idx="116">
                  <c:v>16.08.21</c:v>
                </c:pt>
                <c:pt idx="117">
                  <c:v>17.08.21</c:v>
                </c:pt>
                <c:pt idx="118">
                  <c:v>18.08.21</c:v>
                </c:pt>
                <c:pt idx="119">
                  <c:v>19.08.21</c:v>
                </c:pt>
                <c:pt idx="120">
                  <c:v>20.08.21</c:v>
                </c:pt>
                <c:pt idx="121">
                  <c:v>21.08.21</c:v>
                </c:pt>
                <c:pt idx="122">
                  <c:v>22.08.21</c:v>
                </c:pt>
                <c:pt idx="123">
                  <c:v>23.08.21</c:v>
                </c:pt>
                <c:pt idx="124">
                  <c:v>24.08.21</c:v>
                </c:pt>
                <c:pt idx="125">
                  <c:v>25.08.21</c:v>
                </c:pt>
                <c:pt idx="126">
                  <c:v>26.08.21</c:v>
                </c:pt>
                <c:pt idx="127">
                  <c:v>27.08.21</c:v>
                </c:pt>
                <c:pt idx="128">
                  <c:v>28.08.21</c:v>
                </c:pt>
                <c:pt idx="129">
                  <c:v>29.08.21</c:v>
                </c:pt>
                <c:pt idx="130">
                  <c:v>30.08.21</c:v>
                </c:pt>
                <c:pt idx="131">
                  <c:v>31.08.21</c:v>
                </c:pt>
                <c:pt idx="132">
                  <c:v>01.09.21</c:v>
                </c:pt>
                <c:pt idx="133">
                  <c:v>02.09.21</c:v>
                </c:pt>
                <c:pt idx="134">
                  <c:v>03.09.21</c:v>
                </c:pt>
                <c:pt idx="135">
                  <c:v>04.09.21</c:v>
                </c:pt>
                <c:pt idx="136">
                  <c:v>05.09.21</c:v>
                </c:pt>
                <c:pt idx="137">
                  <c:v>06.09.21</c:v>
                </c:pt>
                <c:pt idx="138">
                  <c:v>07.09.21</c:v>
                </c:pt>
                <c:pt idx="139">
                  <c:v>08.09.21</c:v>
                </c:pt>
                <c:pt idx="140">
                  <c:v>09.09.21</c:v>
                </c:pt>
                <c:pt idx="141">
                  <c:v>10.09.21</c:v>
                </c:pt>
                <c:pt idx="142">
                  <c:v>11.09.21</c:v>
                </c:pt>
                <c:pt idx="143">
                  <c:v>12.09.21</c:v>
                </c:pt>
                <c:pt idx="144">
                  <c:v>13.09.21</c:v>
                </c:pt>
                <c:pt idx="145">
                  <c:v>14.09.21</c:v>
                </c:pt>
                <c:pt idx="146">
                  <c:v>15.09.21</c:v>
                </c:pt>
                <c:pt idx="147">
                  <c:v>16.09.21</c:v>
                </c:pt>
                <c:pt idx="148">
                  <c:v>17.09.21</c:v>
                </c:pt>
                <c:pt idx="149">
                  <c:v>18.09.21</c:v>
                </c:pt>
                <c:pt idx="150">
                  <c:v>19.09.21</c:v>
                </c:pt>
                <c:pt idx="151">
                  <c:v>20.09.21</c:v>
                </c:pt>
                <c:pt idx="152">
                  <c:v>21.09.21</c:v>
                </c:pt>
                <c:pt idx="153">
                  <c:v>22.09.21</c:v>
                </c:pt>
                <c:pt idx="154">
                  <c:v>23.09.21</c:v>
                </c:pt>
                <c:pt idx="155">
                  <c:v>24.09.21</c:v>
                </c:pt>
                <c:pt idx="156">
                  <c:v>25.09.21</c:v>
                </c:pt>
                <c:pt idx="157">
                  <c:v>26.09.21</c:v>
                </c:pt>
                <c:pt idx="158">
                  <c:v>27.09.21</c:v>
                </c:pt>
                <c:pt idx="159">
                  <c:v>28.09.21</c:v>
                </c:pt>
                <c:pt idx="160">
                  <c:v>29.09.21</c:v>
                </c:pt>
                <c:pt idx="161">
                  <c:v>30.09.21</c:v>
                </c:pt>
                <c:pt idx="162">
                  <c:v>01.10.21</c:v>
                </c:pt>
                <c:pt idx="163">
                  <c:v>02.10.21</c:v>
                </c:pt>
                <c:pt idx="164">
                  <c:v>03.10.21</c:v>
                </c:pt>
                <c:pt idx="165">
                  <c:v>04.10.21</c:v>
                </c:pt>
                <c:pt idx="166">
                  <c:v>05.10.21</c:v>
                </c:pt>
                <c:pt idx="167">
                  <c:v>06.10.21</c:v>
                </c:pt>
                <c:pt idx="168">
                  <c:v>07.10.21</c:v>
                </c:pt>
                <c:pt idx="169">
                  <c:v>08.10.21</c:v>
                </c:pt>
                <c:pt idx="170">
                  <c:v>09.10.21</c:v>
                </c:pt>
                <c:pt idx="171">
                  <c:v>10.10.21</c:v>
                </c:pt>
                <c:pt idx="172">
                  <c:v>11.10.21</c:v>
                </c:pt>
                <c:pt idx="173">
                  <c:v>12.10.21</c:v>
                </c:pt>
                <c:pt idx="174">
                  <c:v>13.10.21</c:v>
                </c:pt>
                <c:pt idx="175">
                  <c:v>14.10.21</c:v>
                </c:pt>
                <c:pt idx="176">
                  <c:v>15.10.21</c:v>
                </c:pt>
                <c:pt idx="177">
                  <c:v>16.10.21</c:v>
                </c:pt>
                <c:pt idx="178">
                  <c:v>17.10.21</c:v>
                </c:pt>
                <c:pt idx="179">
                  <c:v>18.10.21</c:v>
                </c:pt>
                <c:pt idx="180">
                  <c:v>19.10.21</c:v>
                </c:pt>
                <c:pt idx="181">
                  <c:v>20.10.21</c:v>
                </c:pt>
                <c:pt idx="182">
                  <c:v>21.10.21</c:v>
                </c:pt>
              </c:strCache>
            </c:strRef>
          </c:cat>
          <c:val>
            <c:numRef>
              <c:f>List1!$B$4:$GB$4</c:f>
              <c:numCache>
                <c:formatCode>General</c:formatCode>
                <c:ptCount val="183"/>
                <c:pt idx="0">
                  <c:v>12</c:v>
                </c:pt>
                <c:pt idx="1">
                  <c:v>15</c:v>
                </c:pt>
                <c:pt idx="2">
                  <c:v>6</c:v>
                </c:pt>
                <c:pt idx="3">
                  <c:v>3</c:v>
                </c:pt>
                <c:pt idx="4">
                  <c:v>18</c:v>
                </c:pt>
                <c:pt idx="5">
                  <c:v>21</c:v>
                </c:pt>
                <c:pt idx="6">
                  <c:v>16</c:v>
                </c:pt>
                <c:pt idx="7">
                  <c:v>23</c:v>
                </c:pt>
                <c:pt idx="8">
                  <c:v>19</c:v>
                </c:pt>
                <c:pt idx="9">
                  <c:v>7</c:v>
                </c:pt>
                <c:pt idx="10">
                  <c:v>4</c:v>
                </c:pt>
                <c:pt idx="11">
                  <c:v>15</c:v>
                </c:pt>
                <c:pt idx="12">
                  <c:v>19</c:v>
                </c:pt>
                <c:pt idx="13">
                  <c:v>13</c:v>
                </c:pt>
                <c:pt idx="14">
                  <c:v>14</c:v>
                </c:pt>
                <c:pt idx="15">
                  <c:v>14</c:v>
                </c:pt>
                <c:pt idx="16">
                  <c:v>4</c:v>
                </c:pt>
                <c:pt idx="17">
                  <c:v>2</c:v>
                </c:pt>
                <c:pt idx="18">
                  <c:v>10</c:v>
                </c:pt>
                <c:pt idx="19">
                  <c:v>17</c:v>
                </c:pt>
                <c:pt idx="20">
                  <c:v>10</c:v>
                </c:pt>
                <c:pt idx="21">
                  <c:v>12</c:v>
                </c:pt>
                <c:pt idx="22">
                  <c:v>9</c:v>
                </c:pt>
                <c:pt idx="23">
                  <c:v>5</c:v>
                </c:pt>
                <c:pt idx="24">
                  <c:v>3</c:v>
                </c:pt>
                <c:pt idx="25">
                  <c:v>8</c:v>
                </c:pt>
                <c:pt idx="26">
                  <c:v>7</c:v>
                </c:pt>
                <c:pt idx="27">
                  <c:v>3</c:v>
                </c:pt>
                <c:pt idx="28">
                  <c:v>6</c:v>
                </c:pt>
                <c:pt idx="29">
                  <c:v>4</c:v>
                </c:pt>
                <c:pt idx="30">
                  <c:v>1</c:v>
                </c:pt>
                <c:pt idx="31">
                  <c:v>0</c:v>
                </c:pt>
                <c:pt idx="32">
                  <c:v>6</c:v>
                </c:pt>
                <c:pt idx="33">
                  <c:v>0</c:v>
                </c:pt>
                <c:pt idx="34">
                  <c:v>6</c:v>
                </c:pt>
                <c:pt idx="35">
                  <c:v>1</c:v>
                </c:pt>
                <c:pt idx="36">
                  <c:v>2</c:v>
                </c:pt>
                <c:pt idx="37">
                  <c:v>3</c:v>
                </c:pt>
                <c:pt idx="38">
                  <c:v>0</c:v>
                </c:pt>
                <c:pt idx="39">
                  <c:v>2</c:v>
                </c:pt>
                <c:pt idx="40">
                  <c:v>1</c:v>
                </c:pt>
                <c:pt idx="41">
                  <c:v>1</c:v>
                </c:pt>
                <c:pt idx="42">
                  <c:v>2</c:v>
                </c:pt>
                <c:pt idx="43">
                  <c:v>1</c:v>
                </c:pt>
                <c:pt idx="44">
                  <c:v>1</c:v>
                </c:pt>
                <c:pt idx="45">
                  <c:v>0</c:v>
                </c:pt>
                <c:pt idx="46">
                  <c:v>2</c:v>
                </c:pt>
                <c:pt idx="47">
                  <c:v>1</c:v>
                </c:pt>
                <c:pt idx="48">
                  <c:v>2</c:v>
                </c:pt>
                <c:pt idx="49">
                  <c:v>1</c:v>
                </c:pt>
                <c:pt idx="50">
                  <c:v>0</c:v>
                </c:pt>
                <c:pt idx="51">
                  <c:v>1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1</c:v>
                </c:pt>
                <c:pt idx="56">
                  <c:v>2</c:v>
                </c:pt>
                <c:pt idx="57">
                  <c:v>0</c:v>
                </c:pt>
                <c:pt idx="58">
                  <c:v>1</c:v>
                </c:pt>
                <c:pt idx="59">
                  <c:v>1</c:v>
                </c:pt>
                <c:pt idx="60">
                  <c:v>0</c:v>
                </c:pt>
                <c:pt idx="61">
                  <c:v>0</c:v>
                </c:pt>
                <c:pt idx="62">
                  <c:v>2</c:v>
                </c:pt>
                <c:pt idx="63">
                  <c:v>2</c:v>
                </c:pt>
                <c:pt idx="64">
                  <c:v>0</c:v>
                </c:pt>
                <c:pt idx="65">
                  <c:v>1</c:v>
                </c:pt>
                <c:pt idx="66">
                  <c:v>2</c:v>
                </c:pt>
                <c:pt idx="67">
                  <c:v>0</c:v>
                </c:pt>
                <c:pt idx="68">
                  <c:v>1</c:v>
                </c:pt>
                <c:pt idx="69">
                  <c:v>0</c:v>
                </c:pt>
                <c:pt idx="70">
                  <c:v>0</c:v>
                </c:pt>
                <c:pt idx="71">
                  <c:v>1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1</c:v>
                </c:pt>
                <c:pt idx="76">
                  <c:v>1</c:v>
                </c:pt>
                <c:pt idx="77">
                  <c:v>4</c:v>
                </c:pt>
                <c:pt idx="78">
                  <c:v>4</c:v>
                </c:pt>
                <c:pt idx="79">
                  <c:v>0</c:v>
                </c:pt>
                <c:pt idx="80">
                  <c:v>0</c:v>
                </c:pt>
                <c:pt idx="81">
                  <c:v>3</c:v>
                </c:pt>
                <c:pt idx="82">
                  <c:v>0</c:v>
                </c:pt>
                <c:pt idx="83">
                  <c:v>4</c:v>
                </c:pt>
                <c:pt idx="84">
                  <c:v>2</c:v>
                </c:pt>
                <c:pt idx="85">
                  <c:v>5</c:v>
                </c:pt>
                <c:pt idx="86">
                  <c:v>1</c:v>
                </c:pt>
                <c:pt idx="87">
                  <c:v>1</c:v>
                </c:pt>
                <c:pt idx="88">
                  <c:v>3</c:v>
                </c:pt>
                <c:pt idx="89">
                  <c:v>5</c:v>
                </c:pt>
                <c:pt idx="90">
                  <c:v>1</c:v>
                </c:pt>
                <c:pt idx="91">
                  <c:v>3</c:v>
                </c:pt>
                <c:pt idx="92">
                  <c:v>2</c:v>
                </c:pt>
                <c:pt idx="93">
                  <c:v>0</c:v>
                </c:pt>
                <c:pt idx="94">
                  <c:v>1</c:v>
                </c:pt>
                <c:pt idx="95">
                  <c:v>3</c:v>
                </c:pt>
                <c:pt idx="96">
                  <c:v>4</c:v>
                </c:pt>
                <c:pt idx="97">
                  <c:v>1</c:v>
                </c:pt>
                <c:pt idx="98">
                  <c:v>3</c:v>
                </c:pt>
                <c:pt idx="99">
                  <c:v>1</c:v>
                </c:pt>
                <c:pt idx="100">
                  <c:v>1</c:v>
                </c:pt>
                <c:pt idx="101">
                  <c:v>1</c:v>
                </c:pt>
                <c:pt idx="102">
                  <c:v>2</c:v>
                </c:pt>
                <c:pt idx="103">
                  <c:v>3</c:v>
                </c:pt>
                <c:pt idx="104">
                  <c:v>3</c:v>
                </c:pt>
                <c:pt idx="105">
                  <c:v>1</c:v>
                </c:pt>
                <c:pt idx="106">
                  <c:v>2</c:v>
                </c:pt>
                <c:pt idx="107">
                  <c:v>1</c:v>
                </c:pt>
                <c:pt idx="108">
                  <c:v>0</c:v>
                </c:pt>
                <c:pt idx="109">
                  <c:v>6</c:v>
                </c:pt>
                <c:pt idx="110">
                  <c:v>0</c:v>
                </c:pt>
                <c:pt idx="111">
                  <c:v>1</c:v>
                </c:pt>
                <c:pt idx="112">
                  <c:v>2</c:v>
                </c:pt>
                <c:pt idx="113">
                  <c:v>5</c:v>
                </c:pt>
                <c:pt idx="114">
                  <c:v>2</c:v>
                </c:pt>
                <c:pt idx="115">
                  <c:v>1</c:v>
                </c:pt>
                <c:pt idx="116">
                  <c:v>1</c:v>
                </c:pt>
                <c:pt idx="117">
                  <c:v>1</c:v>
                </c:pt>
                <c:pt idx="118">
                  <c:v>1</c:v>
                </c:pt>
                <c:pt idx="119">
                  <c:v>0</c:v>
                </c:pt>
                <c:pt idx="120">
                  <c:v>3</c:v>
                </c:pt>
                <c:pt idx="121">
                  <c:v>1</c:v>
                </c:pt>
                <c:pt idx="122">
                  <c:v>2</c:v>
                </c:pt>
                <c:pt idx="123">
                  <c:v>1</c:v>
                </c:pt>
                <c:pt idx="124">
                  <c:v>2</c:v>
                </c:pt>
                <c:pt idx="125">
                  <c:v>5</c:v>
                </c:pt>
                <c:pt idx="126">
                  <c:v>2</c:v>
                </c:pt>
                <c:pt idx="127">
                  <c:v>2</c:v>
                </c:pt>
                <c:pt idx="128">
                  <c:v>0</c:v>
                </c:pt>
                <c:pt idx="129">
                  <c:v>1</c:v>
                </c:pt>
                <c:pt idx="130">
                  <c:v>1</c:v>
                </c:pt>
                <c:pt idx="131">
                  <c:v>1</c:v>
                </c:pt>
                <c:pt idx="132">
                  <c:v>3</c:v>
                </c:pt>
                <c:pt idx="133">
                  <c:v>4</c:v>
                </c:pt>
                <c:pt idx="134">
                  <c:v>6</c:v>
                </c:pt>
                <c:pt idx="135">
                  <c:v>5</c:v>
                </c:pt>
                <c:pt idx="136">
                  <c:v>1</c:v>
                </c:pt>
                <c:pt idx="137">
                  <c:v>5</c:v>
                </c:pt>
                <c:pt idx="138">
                  <c:v>5</c:v>
                </c:pt>
                <c:pt idx="139">
                  <c:v>1</c:v>
                </c:pt>
                <c:pt idx="140">
                  <c:v>3</c:v>
                </c:pt>
                <c:pt idx="141">
                  <c:v>2</c:v>
                </c:pt>
                <c:pt idx="142">
                  <c:v>0</c:v>
                </c:pt>
                <c:pt idx="143">
                  <c:v>3</c:v>
                </c:pt>
                <c:pt idx="144">
                  <c:v>2</c:v>
                </c:pt>
                <c:pt idx="145">
                  <c:v>3</c:v>
                </c:pt>
                <c:pt idx="146">
                  <c:v>5</c:v>
                </c:pt>
                <c:pt idx="147">
                  <c:v>7</c:v>
                </c:pt>
                <c:pt idx="148">
                  <c:v>4</c:v>
                </c:pt>
                <c:pt idx="149">
                  <c:v>2</c:v>
                </c:pt>
                <c:pt idx="150">
                  <c:v>5</c:v>
                </c:pt>
                <c:pt idx="151">
                  <c:v>8</c:v>
                </c:pt>
                <c:pt idx="152">
                  <c:v>9</c:v>
                </c:pt>
                <c:pt idx="153">
                  <c:v>8</c:v>
                </c:pt>
                <c:pt idx="154">
                  <c:v>5</c:v>
                </c:pt>
                <c:pt idx="155">
                  <c:v>4</c:v>
                </c:pt>
                <c:pt idx="156">
                  <c:v>4</c:v>
                </c:pt>
                <c:pt idx="157">
                  <c:v>2</c:v>
                </c:pt>
                <c:pt idx="158">
                  <c:v>7</c:v>
                </c:pt>
                <c:pt idx="159">
                  <c:v>6</c:v>
                </c:pt>
                <c:pt idx="160">
                  <c:v>7</c:v>
                </c:pt>
                <c:pt idx="161">
                  <c:v>12</c:v>
                </c:pt>
                <c:pt idx="162">
                  <c:v>8</c:v>
                </c:pt>
                <c:pt idx="163">
                  <c:v>4</c:v>
                </c:pt>
                <c:pt idx="164">
                  <c:v>7</c:v>
                </c:pt>
                <c:pt idx="165">
                  <c:v>7</c:v>
                </c:pt>
                <c:pt idx="166">
                  <c:v>12</c:v>
                </c:pt>
                <c:pt idx="167">
                  <c:v>13</c:v>
                </c:pt>
                <c:pt idx="168">
                  <c:v>15</c:v>
                </c:pt>
                <c:pt idx="169">
                  <c:v>9</c:v>
                </c:pt>
                <c:pt idx="170">
                  <c:v>8</c:v>
                </c:pt>
                <c:pt idx="171">
                  <c:v>5</c:v>
                </c:pt>
                <c:pt idx="172">
                  <c:v>19</c:v>
                </c:pt>
                <c:pt idx="173">
                  <c:v>31</c:v>
                </c:pt>
                <c:pt idx="174">
                  <c:v>18</c:v>
                </c:pt>
                <c:pt idx="175">
                  <c:v>16</c:v>
                </c:pt>
                <c:pt idx="176">
                  <c:v>14</c:v>
                </c:pt>
                <c:pt idx="177">
                  <c:v>9</c:v>
                </c:pt>
                <c:pt idx="178">
                  <c:v>12</c:v>
                </c:pt>
                <c:pt idx="179">
                  <c:v>38</c:v>
                </c:pt>
                <c:pt idx="180">
                  <c:v>52</c:v>
                </c:pt>
                <c:pt idx="181">
                  <c:v>45</c:v>
                </c:pt>
                <c:pt idx="182">
                  <c:v>3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E8FD-43E4-BA1D-0B494D841FF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04314152"/>
        <c:axId val="604312192"/>
      </c:lineChart>
      <c:catAx>
        <c:axId val="604314152"/>
        <c:scaling>
          <c:orientation val="minMax"/>
        </c:scaling>
        <c:delete val="0"/>
        <c:axPos val="b"/>
        <c:numFmt formatCode="dd/mm/yy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604312192"/>
        <c:crosses val="autoZero"/>
        <c:auto val="1"/>
        <c:lblAlgn val="ctr"/>
        <c:lblOffset val="100"/>
        <c:tickLblSkip val="7"/>
        <c:noMultiLvlLbl val="0"/>
      </c:catAx>
      <c:valAx>
        <c:axId val="604312192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6043141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</a:defRPr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2895491925027349E-2"/>
          <c:y val="2.8733097084892491E-2"/>
          <c:w val="0.69322079746689458"/>
          <c:h val="0.83918438300516462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Lékaři</c:v>
                </c:pt>
              </c:strCache>
            </c:strRef>
          </c:tx>
          <c:spPr>
            <a:ln w="28575" cap="rnd">
              <a:solidFill>
                <a:srgbClr val="4472C4"/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82"/>
              <c:layout>
                <c:manualLayout>
                  <c:x val="-1.3019527064393282E-16"/>
                  <c:y val="2.3312783206719222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l">
                    <a:defRPr sz="1200" b="1" i="0" u="none" strike="noStrike" kern="1200" baseline="0">
                      <a:solidFill>
                        <a:srgbClr val="4472C4"/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601304996662368"/>
                      <c:h val="4.1147062359859425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37CD-4BA3-857E-B86804E5EE0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GB$1</c:f>
              <c:strCache>
                <c:ptCount val="183"/>
                <c:pt idx="0">
                  <c:v>22.04.21</c:v>
                </c:pt>
                <c:pt idx="1">
                  <c:v>23.04.21</c:v>
                </c:pt>
                <c:pt idx="2">
                  <c:v>24.04.21</c:v>
                </c:pt>
                <c:pt idx="3">
                  <c:v>25.04.21</c:v>
                </c:pt>
                <c:pt idx="4">
                  <c:v>26.04.21</c:v>
                </c:pt>
                <c:pt idx="5">
                  <c:v>27.04.21</c:v>
                </c:pt>
                <c:pt idx="6">
                  <c:v>28.04.21</c:v>
                </c:pt>
                <c:pt idx="7">
                  <c:v>29.04.21</c:v>
                </c:pt>
                <c:pt idx="8">
                  <c:v>30.04.21</c:v>
                </c:pt>
                <c:pt idx="9">
                  <c:v>01.05.21</c:v>
                </c:pt>
                <c:pt idx="10">
                  <c:v>02.05.21</c:v>
                </c:pt>
                <c:pt idx="11">
                  <c:v>03.05.21</c:v>
                </c:pt>
                <c:pt idx="12">
                  <c:v>04.05.21</c:v>
                </c:pt>
                <c:pt idx="13">
                  <c:v>05.05.21</c:v>
                </c:pt>
                <c:pt idx="14">
                  <c:v>06.05.21</c:v>
                </c:pt>
                <c:pt idx="15">
                  <c:v>07.05.21</c:v>
                </c:pt>
                <c:pt idx="16">
                  <c:v>08.05.21</c:v>
                </c:pt>
                <c:pt idx="17">
                  <c:v>09.05.21</c:v>
                </c:pt>
                <c:pt idx="18">
                  <c:v>10.05.21</c:v>
                </c:pt>
                <c:pt idx="19">
                  <c:v>11.05.21</c:v>
                </c:pt>
                <c:pt idx="20">
                  <c:v>12.05.21</c:v>
                </c:pt>
                <c:pt idx="21">
                  <c:v>13.05.21</c:v>
                </c:pt>
                <c:pt idx="22">
                  <c:v>14.05.21</c:v>
                </c:pt>
                <c:pt idx="23">
                  <c:v>15.05.21</c:v>
                </c:pt>
                <c:pt idx="24">
                  <c:v>16.05.21</c:v>
                </c:pt>
                <c:pt idx="25">
                  <c:v>17.05.21</c:v>
                </c:pt>
                <c:pt idx="26">
                  <c:v>18.05.21</c:v>
                </c:pt>
                <c:pt idx="27">
                  <c:v>19.05.21</c:v>
                </c:pt>
                <c:pt idx="28">
                  <c:v>20.05.21</c:v>
                </c:pt>
                <c:pt idx="29">
                  <c:v>21.05.21</c:v>
                </c:pt>
                <c:pt idx="30">
                  <c:v>22.05.21</c:v>
                </c:pt>
                <c:pt idx="31">
                  <c:v>23.05.21</c:v>
                </c:pt>
                <c:pt idx="32">
                  <c:v>24.05.21</c:v>
                </c:pt>
                <c:pt idx="33">
                  <c:v>25.05.21</c:v>
                </c:pt>
                <c:pt idx="34">
                  <c:v>26.05.21</c:v>
                </c:pt>
                <c:pt idx="35">
                  <c:v>27.05.21</c:v>
                </c:pt>
                <c:pt idx="36">
                  <c:v>28.05.21</c:v>
                </c:pt>
                <c:pt idx="37">
                  <c:v>29.05.21</c:v>
                </c:pt>
                <c:pt idx="38">
                  <c:v>30.05.21</c:v>
                </c:pt>
                <c:pt idx="39">
                  <c:v>31.05.21</c:v>
                </c:pt>
                <c:pt idx="40">
                  <c:v>01.06.21</c:v>
                </c:pt>
                <c:pt idx="41">
                  <c:v>02.06.21</c:v>
                </c:pt>
                <c:pt idx="42">
                  <c:v>03.06.21</c:v>
                </c:pt>
                <c:pt idx="43">
                  <c:v>04.06.21</c:v>
                </c:pt>
                <c:pt idx="44">
                  <c:v>05.06.21</c:v>
                </c:pt>
                <c:pt idx="45">
                  <c:v>06.06.21</c:v>
                </c:pt>
                <c:pt idx="46">
                  <c:v>07.06.21</c:v>
                </c:pt>
                <c:pt idx="47">
                  <c:v>08.06.21</c:v>
                </c:pt>
                <c:pt idx="48">
                  <c:v>09.06.21</c:v>
                </c:pt>
                <c:pt idx="49">
                  <c:v>10.06.21</c:v>
                </c:pt>
                <c:pt idx="50">
                  <c:v>11.06.21</c:v>
                </c:pt>
                <c:pt idx="51">
                  <c:v>12.06.21</c:v>
                </c:pt>
                <c:pt idx="52">
                  <c:v>13.06.21</c:v>
                </c:pt>
                <c:pt idx="53">
                  <c:v>14.06.21</c:v>
                </c:pt>
                <c:pt idx="54">
                  <c:v>15.06.21</c:v>
                </c:pt>
                <c:pt idx="55">
                  <c:v>16.06.21</c:v>
                </c:pt>
                <c:pt idx="56">
                  <c:v>17.06.21</c:v>
                </c:pt>
                <c:pt idx="57">
                  <c:v>18.06.21</c:v>
                </c:pt>
                <c:pt idx="58">
                  <c:v>19.06.21</c:v>
                </c:pt>
                <c:pt idx="59">
                  <c:v>20.06.21</c:v>
                </c:pt>
                <c:pt idx="60">
                  <c:v>21.06.21</c:v>
                </c:pt>
                <c:pt idx="61">
                  <c:v>22.06.21</c:v>
                </c:pt>
                <c:pt idx="62">
                  <c:v>23.06.21</c:v>
                </c:pt>
                <c:pt idx="63">
                  <c:v>24.06.21</c:v>
                </c:pt>
                <c:pt idx="64">
                  <c:v>25.06.21</c:v>
                </c:pt>
                <c:pt idx="65">
                  <c:v>26.06.21</c:v>
                </c:pt>
                <c:pt idx="66">
                  <c:v>27.06.21</c:v>
                </c:pt>
                <c:pt idx="67">
                  <c:v>28.06.21</c:v>
                </c:pt>
                <c:pt idx="68">
                  <c:v>29.06.21</c:v>
                </c:pt>
                <c:pt idx="69">
                  <c:v>30.06.21</c:v>
                </c:pt>
                <c:pt idx="70">
                  <c:v>01.07.21</c:v>
                </c:pt>
                <c:pt idx="71">
                  <c:v>02.07.21</c:v>
                </c:pt>
                <c:pt idx="72">
                  <c:v>03.07.21</c:v>
                </c:pt>
                <c:pt idx="73">
                  <c:v>04.07.21</c:v>
                </c:pt>
                <c:pt idx="74">
                  <c:v>05.07.21</c:v>
                </c:pt>
                <c:pt idx="75">
                  <c:v>06.07.21</c:v>
                </c:pt>
                <c:pt idx="76">
                  <c:v>07.07.21</c:v>
                </c:pt>
                <c:pt idx="77">
                  <c:v>08.07.21</c:v>
                </c:pt>
                <c:pt idx="78">
                  <c:v>09.07.21</c:v>
                </c:pt>
                <c:pt idx="79">
                  <c:v>10.07.21</c:v>
                </c:pt>
                <c:pt idx="80">
                  <c:v>11.07.21</c:v>
                </c:pt>
                <c:pt idx="81">
                  <c:v>12.07.21</c:v>
                </c:pt>
                <c:pt idx="82">
                  <c:v>13.07.21</c:v>
                </c:pt>
                <c:pt idx="83">
                  <c:v>14.07.21</c:v>
                </c:pt>
                <c:pt idx="84">
                  <c:v>15.07.21</c:v>
                </c:pt>
                <c:pt idx="85">
                  <c:v>16.07.21</c:v>
                </c:pt>
                <c:pt idx="86">
                  <c:v>17.07.21</c:v>
                </c:pt>
                <c:pt idx="87">
                  <c:v>18.07.21</c:v>
                </c:pt>
                <c:pt idx="88">
                  <c:v>19.07.21</c:v>
                </c:pt>
                <c:pt idx="89">
                  <c:v>20.07.21</c:v>
                </c:pt>
                <c:pt idx="90">
                  <c:v>21.07.21</c:v>
                </c:pt>
                <c:pt idx="91">
                  <c:v>22.07.21</c:v>
                </c:pt>
                <c:pt idx="92">
                  <c:v>23.07.21</c:v>
                </c:pt>
                <c:pt idx="93">
                  <c:v>24.07.21</c:v>
                </c:pt>
                <c:pt idx="94">
                  <c:v>25.07.21</c:v>
                </c:pt>
                <c:pt idx="95">
                  <c:v>26.07.21</c:v>
                </c:pt>
                <c:pt idx="96">
                  <c:v>27.07.21</c:v>
                </c:pt>
                <c:pt idx="97">
                  <c:v>28.07.21</c:v>
                </c:pt>
                <c:pt idx="98">
                  <c:v>29.07.21</c:v>
                </c:pt>
                <c:pt idx="99">
                  <c:v>30.07.21</c:v>
                </c:pt>
                <c:pt idx="100">
                  <c:v>31.07.21</c:v>
                </c:pt>
                <c:pt idx="101">
                  <c:v>01.08.21</c:v>
                </c:pt>
                <c:pt idx="102">
                  <c:v>02.08.21</c:v>
                </c:pt>
                <c:pt idx="103">
                  <c:v>03.08.21</c:v>
                </c:pt>
                <c:pt idx="104">
                  <c:v>04.08.21</c:v>
                </c:pt>
                <c:pt idx="105">
                  <c:v>05.08.21</c:v>
                </c:pt>
                <c:pt idx="106">
                  <c:v>06.08.21</c:v>
                </c:pt>
                <c:pt idx="107">
                  <c:v>07.08.21</c:v>
                </c:pt>
                <c:pt idx="108">
                  <c:v>08.08.21</c:v>
                </c:pt>
                <c:pt idx="109">
                  <c:v>09.08.21</c:v>
                </c:pt>
                <c:pt idx="110">
                  <c:v>10.08.21</c:v>
                </c:pt>
                <c:pt idx="111">
                  <c:v>11.08.21</c:v>
                </c:pt>
                <c:pt idx="112">
                  <c:v>12.08.21</c:v>
                </c:pt>
                <c:pt idx="113">
                  <c:v>13.08.21</c:v>
                </c:pt>
                <c:pt idx="114">
                  <c:v>14.08.21</c:v>
                </c:pt>
                <c:pt idx="115">
                  <c:v>15.08.21</c:v>
                </c:pt>
                <c:pt idx="116">
                  <c:v>16.08.21</c:v>
                </c:pt>
                <c:pt idx="117">
                  <c:v>17.08.21</c:v>
                </c:pt>
                <c:pt idx="118">
                  <c:v>18.08.21</c:v>
                </c:pt>
                <c:pt idx="119">
                  <c:v>19.08.21</c:v>
                </c:pt>
                <c:pt idx="120">
                  <c:v>20.08.21</c:v>
                </c:pt>
                <c:pt idx="121">
                  <c:v>21.08.21</c:v>
                </c:pt>
                <c:pt idx="122">
                  <c:v>22.08.21</c:v>
                </c:pt>
                <c:pt idx="123">
                  <c:v>23.08.21</c:v>
                </c:pt>
                <c:pt idx="124">
                  <c:v>24.08.21</c:v>
                </c:pt>
                <c:pt idx="125">
                  <c:v>25.08.21</c:v>
                </c:pt>
                <c:pt idx="126">
                  <c:v>26.08.21</c:v>
                </c:pt>
                <c:pt idx="127">
                  <c:v>27.08.21</c:v>
                </c:pt>
                <c:pt idx="128">
                  <c:v>28.08.21</c:v>
                </c:pt>
                <c:pt idx="129">
                  <c:v>29.08.21</c:v>
                </c:pt>
                <c:pt idx="130">
                  <c:v>30.08.21</c:v>
                </c:pt>
                <c:pt idx="131">
                  <c:v>31.08.21</c:v>
                </c:pt>
                <c:pt idx="132">
                  <c:v>01.09.21</c:v>
                </c:pt>
                <c:pt idx="133">
                  <c:v>02.09.21</c:v>
                </c:pt>
                <c:pt idx="134">
                  <c:v>03.09.21</c:v>
                </c:pt>
                <c:pt idx="135">
                  <c:v>04.09.21</c:v>
                </c:pt>
                <c:pt idx="136">
                  <c:v>05.09.21</c:v>
                </c:pt>
                <c:pt idx="137">
                  <c:v>06.09.21</c:v>
                </c:pt>
                <c:pt idx="138">
                  <c:v>07.09.21</c:v>
                </c:pt>
                <c:pt idx="139">
                  <c:v>08.09.21</c:v>
                </c:pt>
                <c:pt idx="140">
                  <c:v>09.09.21</c:v>
                </c:pt>
                <c:pt idx="141">
                  <c:v>10.09.21</c:v>
                </c:pt>
                <c:pt idx="142">
                  <c:v>11.09.21</c:v>
                </c:pt>
                <c:pt idx="143">
                  <c:v>12.09.21</c:v>
                </c:pt>
                <c:pt idx="144">
                  <c:v>13.09.21</c:v>
                </c:pt>
                <c:pt idx="145">
                  <c:v>14.09.21</c:v>
                </c:pt>
                <c:pt idx="146">
                  <c:v>15.09.21</c:v>
                </c:pt>
                <c:pt idx="147">
                  <c:v>16.09.21</c:v>
                </c:pt>
                <c:pt idx="148">
                  <c:v>17.09.21</c:v>
                </c:pt>
                <c:pt idx="149">
                  <c:v>18.09.21</c:v>
                </c:pt>
                <c:pt idx="150">
                  <c:v>19.09.21</c:v>
                </c:pt>
                <c:pt idx="151">
                  <c:v>20.09.21</c:v>
                </c:pt>
                <c:pt idx="152">
                  <c:v>21.09.21</c:v>
                </c:pt>
                <c:pt idx="153">
                  <c:v>22.09.21</c:v>
                </c:pt>
                <c:pt idx="154">
                  <c:v>23.09.21</c:v>
                </c:pt>
                <c:pt idx="155">
                  <c:v>24.09.21</c:v>
                </c:pt>
                <c:pt idx="156">
                  <c:v>25.09.21</c:v>
                </c:pt>
                <c:pt idx="157">
                  <c:v>26.09.21</c:v>
                </c:pt>
                <c:pt idx="158">
                  <c:v>27.09.21</c:v>
                </c:pt>
                <c:pt idx="159">
                  <c:v>28.09.21</c:v>
                </c:pt>
                <c:pt idx="160">
                  <c:v>29.09.21</c:v>
                </c:pt>
                <c:pt idx="161">
                  <c:v>30.09.21</c:v>
                </c:pt>
                <c:pt idx="162">
                  <c:v>01.10.21</c:v>
                </c:pt>
                <c:pt idx="163">
                  <c:v>02.10.21</c:v>
                </c:pt>
                <c:pt idx="164">
                  <c:v>03.10.21</c:v>
                </c:pt>
                <c:pt idx="165">
                  <c:v>04.10.21</c:v>
                </c:pt>
                <c:pt idx="166">
                  <c:v>05.10.21</c:v>
                </c:pt>
                <c:pt idx="167">
                  <c:v>06.10.21</c:v>
                </c:pt>
                <c:pt idx="168">
                  <c:v>07.10.21</c:v>
                </c:pt>
                <c:pt idx="169">
                  <c:v>08.10.21</c:v>
                </c:pt>
                <c:pt idx="170">
                  <c:v>09.10.21</c:v>
                </c:pt>
                <c:pt idx="171">
                  <c:v>10.10.21</c:v>
                </c:pt>
                <c:pt idx="172">
                  <c:v>11.10.21</c:v>
                </c:pt>
                <c:pt idx="173">
                  <c:v>12.10.21</c:v>
                </c:pt>
                <c:pt idx="174">
                  <c:v>13.10.21</c:v>
                </c:pt>
                <c:pt idx="175">
                  <c:v>14.10.21</c:v>
                </c:pt>
                <c:pt idx="176">
                  <c:v>15.10.21</c:v>
                </c:pt>
                <c:pt idx="177">
                  <c:v>16.10.21</c:v>
                </c:pt>
                <c:pt idx="178">
                  <c:v>17.10.21</c:v>
                </c:pt>
                <c:pt idx="179">
                  <c:v>18.10.21</c:v>
                </c:pt>
                <c:pt idx="180">
                  <c:v>19.10.21</c:v>
                </c:pt>
                <c:pt idx="181">
                  <c:v>20.10.21</c:v>
                </c:pt>
                <c:pt idx="182">
                  <c:v>21.10.21</c:v>
                </c:pt>
              </c:strCache>
            </c:strRef>
          </c:cat>
          <c:val>
            <c:numRef>
              <c:f>List1!$B$2:$GB$2</c:f>
              <c:numCache>
                <c:formatCode>General</c:formatCode>
                <c:ptCount val="183"/>
                <c:pt idx="0">
                  <c:v>60</c:v>
                </c:pt>
                <c:pt idx="1">
                  <c:v>62</c:v>
                </c:pt>
                <c:pt idx="2">
                  <c:v>63</c:v>
                </c:pt>
                <c:pt idx="3">
                  <c:v>61</c:v>
                </c:pt>
                <c:pt idx="4">
                  <c:v>60</c:v>
                </c:pt>
                <c:pt idx="5">
                  <c:v>56</c:v>
                </c:pt>
                <c:pt idx="6">
                  <c:v>56</c:v>
                </c:pt>
                <c:pt idx="7">
                  <c:v>60</c:v>
                </c:pt>
                <c:pt idx="8">
                  <c:v>59</c:v>
                </c:pt>
                <c:pt idx="9">
                  <c:v>57</c:v>
                </c:pt>
                <c:pt idx="10">
                  <c:v>57</c:v>
                </c:pt>
                <c:pt idx="11">
                  <c:v>51</c:v>
                </c:pt>
                <c:pt idx="12">
                  <c:v>49</c:v>
                </c:pt>
                <c:pt idx="13">
                  <c:v>46</c:v>
                </c:pt>
                <c:pt idx="14">
                  <c:v>43</c:v>
                </c:pt>
                <c:pt idx="15">
                  <c:v>39</c:v>
                </c:pt>
                <c:pt idx="16">
                  <c:v>40</c:v>
                </c:pt>
                <c:pt idx="17">
                  <c:v>40</c:v>
                </c:pt>
                <c:pt idx="18">
                  <c:v>35</c:v>
                </c:pt>
                <c:pt idx="19">
                  <c:v>36</c:v>
                </c:pt>
                <c:pt idx="20">
                  <c:v>26</c:v>
                </c:pt>
                <c:pt idx="21">
                  <c:v>28</c:v>
                </c:pt>
                <c:pt idx="22">
                  <c:v>28</c:v>
                </c:pt>
                <c:pt idx="23">
                  <c:v>27</c:v>
                </c:pt>
                <c:pt idx="24">
                  <c:v>26</c:v>
                </c:pt>
                <c:pt idx="25">
                  <c:v>23</c:v>
                </c:pt>
                <c:pt idx="26">
                  <c:v>21</c:v>
                </c:pt>
                <c:pt idx="27">
                  <c:v>21</c:v>
                </c:pt>
                <c:pt idx="28">
                  <c:v>22</c:v>
                </c:pt>
                <c:pt idx="29">
                  <c:v>22</c:v>
                </c:pt>
                <c:pt idx="30">
                  <c:v>23</c:v>
                </c:pt>
                <c:pt idx="31">
                  <c:v>23</c:v>
                </c:pt>
                <c:pt idx="32">
                  <c:v>22</c:v>
                </c:pt>
                <c:pt idx="33">
                  <c:v>21</c:v>
                </c:pt>
                <c:pt idx="34">
                  <c:v>22</c:v>
                </c:pt>
                <c:pt idx="35">
                  <c:v>20</c:v>
                </c:pt>
                <c:pt idx="36">
                  <c:v>19</c:v>
                </c:pt>
                <c:pt idx="37">
                  <c:v>18</c:v>
                </c:pt>
                <c:pt idx="38">
                  <c:v>19</c:v>
                </c:pt>
                <c:pt idx="39">
                  <c:v>17</c:v>
                </c:pt>
                <c:pt idx="40">
                  <c:v>17</c:v>
                </c:pt>
                <c:pt idx="41">
                  <c:v>15</c:v>
                </c:pt>
                <c:pt idx="42">
                  <c:v>14</c:v>
                </c:pt>
                <c:pt idx="43">
                  <c:v>12</c:v>
                </c:pt>
                <c:pt idx="44">
                  <c:v>11</c:v>
                </c:pt>
                <c:pt idx="45">
                  <c:v>11</c:v>
                </c:pt>
                <c:pt idx="46">
                  <c:v>10</c:v>
                </c:pt>
                <c:pt idx="47">
                  <c:v>9</c:v>
                </c:pt>
                <c:pt idx="48">
                  <c:v>7</c:v>
                </c:pt>
                <c:pt idx="49">
                  <c:v>4</c:v>
                </c:pt>
                <c:pt idx="50">
                  <c:v>4</c:v>
                </c:pt>
                <c:pt idx="51">
                  <c:v>3</c:v>
                </c:pt>
                <c:pt idx="52">
                  <c:v>0</c:v>
                </c:pt>
                <c:pt idx="53">
                  <c:v>1</c:v>
                </c:pt>
                <c:pt idx="54">
                  <c:v>1</c:v>
                </c:pt>
                <c:pt idx="55">
                  <c:v>1</c:v>
                </c:pt>
                <c:pt idx="56">
                  <c:v>1</c:v>
                </c:pt>
                <c:pt idx="57">
                  <c:v>2</c:v>
                </c:pt>
                <c:pt idx="58">
                  <c:v>2</c:v>
                </c:pt>
                <c:pt idx="59">
                  <c:v>2</c:v>
                </c:pt>
                <c:pt idx="60">
                  <c:v>2</c:v>
                </c:pt>
                <c:pt idx="61">
                  <c:v>2</c:v>
                </c:pt>
                <c:pt idx="62">
                  <c:v>2</c:v>
                </c:pt>
                <c:pt idx="63">
                  <c:v>2</c:v>
                </c:pt>
                <c:pt idx="64">
                  <c:v>2</c:v>
                </c:pt>
                <c:pt idx="65">
                  <c:v>2</c:v>
                </c:pt>
                <c:pt idx="66">
                  <c:v>2</c:v>
                </c:pt>
                <c:pt idx="67">
                  <c:v>1</c:v>
                </c:pt>
                <c:pt idx="68">
                  <c:v>1</c:v>
                </c:pt>
                <c:pt idx="69">
                  <c:v>1</c:v>
                </c:pt>
                <c:pt idx="70">
                  <c:v>2</c:v>
                </c:pt>
                <c:pt idx="71">
                  <c:v>2</c:v>
                </c:pt>
                <c:pt idx="72">
                  <c:v>2</c:v>
                </c:pt>
                <c:pt idx="73">
                  <c:v>3</c:v>
                </c:pt>
                <c:pt idx="74">
                  <c:v>3</c:v>
                </c:pt>
                <c:pt idx="75">
                  <c:v>3</c:v>
                </c:pt>
                <c:pt idx="76">
                  <c:v>3</c:v>
                </c:pt>
                <c:pt idx="77">
                  <c:v>3</c:v>
                </c:pt>
                <c:pt idx="78">
                  <c:v>5</c:v>
                </c:pt>
                <c:pt idx="79">
                  <c:v>5</c:v>
                </c:pt>
                <c:pt idx="80">
                  <c:v>5</c:v>
                </c:pt>
                <c:pt idx="81">
                  <c:v>7</c:v>
                </c:pt>
                <c:pt idx="82">
                  <c:v>8</c:v>
                </c:pt>
                <c:pt idx="83">
                  <c:v>7</c:v>
                </c:pt>
                <c:pt idx="84">
                  <c:v>7</c:v>
                </c:pt>
                <c:pt idx="85">
                  <c:v>9</c:v>
                </c:pt>
                <c:pt idx="86">
                  <c:v>11</c:v>
                </c:pt>
                <c:pt idx="87">
                  <c:v>11</c:v>
                </c:pt>
                <c:pt idx="88">
                  <c:v>13</c:v>
                </c:pt>
                <c:pt idx="89">
                  <c:v>15</c:v>
                </c:pt>
                <c:pt idx="90">
                  <c:v>17</c:v>
                </c:pt>
                <c:pt idx="91">
                  <c:v>20</c:v>
                </c:pt>
                <c:pt idx="92">
                  <c:v>19</c:v>
                </c:pt>
                <c:pt idx="93">
                  <c:v>19</c:v>
                </c:pt>
                <c:pt idx="94">
                  <c:v>20</c:v>
                </c:pt>
                <c:pt idx="95">
                  <c:v>20</c:v>
                </c:pt>
                <c:pt idx="96">
                  <c:v>21</c:v>
                </c:pt>
                <c:pt idx="97">
                  <c:v>22</c:v>
                </c:pt>
                <c:pt idx="98">
                  <c:v>23</c:v>
                </c:pt>
                <c:pt idx="99">
                  <c:v>22</c:v>
                </c:pt>
                <c:pt idx="100">
                  <c:v>21</c:v>
                </c:pt>
                <c:pt idx="101">
                  <c:v>20</c:v>
                </c:pt>
                <c:pt idx="102">
                  <c:v>18</c:v>
                </c:pt>
                <c:pt idx="103">
                  <c:v>16</c:v>
                </c:pt>
                <c:pt idx="104">
                  <c:v>19</c:v>
                </c:pt>
                <c:pt idx="105">
                  <c:v>17</c:v>
                </c:pt>
                <c:pt idx="106">
                  <c:v>19</c:v>
                </c:pt>
                <c:pt idx="107">
                  <c:v>16</c:v>
                </c:pt>
                <c:pt idx="108">
                  <c:v>18</c:v>
                </c:pt>
                <c:pt idx="109">
                  <c:v>18</c:v>
                </c:pt>
                <c:pt idx="110">
                  <c:v>18</c:v>
                </c:pt>
                <c:pt idx="111">
                  <c:v>18</c:v>
                </c:pt>
                <c:pt idx="112">
                  <c:v>19</c:v>
                </c:pt>
                <c:pt idx="113">
                  <c:v>19</c:v>
                </c:pt>
                <c:pt idx="114">
                  <c:v>19</c:v>
                </c:pt>
                <c:pt idx="115">
                  <c:v>19</c:v>
                </c:pt>
                <c:pt idx="116">
                  <c:v>22</c:v>
                </c:pt>
                <c:pt idx="117">
                  <c:v>19</c:v>
                </c:pt>
                <c:pt idx="118">
                  <c:v>16</c:v>
                </c:pt>
                <c:pt idx="119">
                  <c:v>16</c:v>
                </c:pt>
                <c:pt idx="120">
                  <c:v>15</c:v>
                </c:pt>
                <c:pt idx="121">
                  <c:v>14</c:v>
                </c:pt>
                <c:pt idx="122">
                  <c:v>12</c:v>
                </c:pt>
                <c:pt idx="123">
                  <c:v>13</c:v>
                </c:pt>
                <c:pt idx="124">
                  <c:v>12</c:v>
                </c:pt>
                <c:pt idx="125">
                  <c:v>10</c:v>
                </c:pt>
                <c:pt idx="126">
                  <c:v>11</c:v>
                </c:pt>
                <c:pt idx="127">
                  <c:v>11</c:v>
                </c:pt>
                <c:pt idx="128">
                  <c:v>12</c:v>
                </c:pt>
                <c:pt idx="129">
                  <c:v>11</c:v>
                </c:pt>
                <c:pt idx="130">
                  <c:v>9</c:v>
                </c:pt>
                <c:pt idx="131">
                  <c:v>13</c:v>
                </c:pt>
                <c:pt idx="132">
                  <c:v>16</c:v>
                </c:pt>
                <c:pt idx="133">
                  <c:v>17</c:v>
                </c:pt>
                <c:pt idx="134">
                  <c:v>17</c:v>
                </c:pt>
                <c:pt idx="135">
                  <c:v>20</c:v>
                </c:pt>
                <c:pt idx="136">
                  <c:v>21</c:v>
                </c:pt>
                <c:pt idx="137">
                  <c:v>19</c:v>
                </c:pt>
                <c:pt idx="138">
                  <c:v>20</c:v>
                </c:pt>
                <c:pt idx="139">
                  <c:v>19</c:v>
                </c:pt>
                <c:pt idx="140">
                  <c:v>19</c:v>
                </c:pt>
                <c:pt idx="141">
                  <c:v>20</c:v>
                </c:pt>
                <c:pt idx="142">
                  <c:v>23</c:v>
                </c:pt>
                <c:pt idx="143">
                  <c:v>22</c:v>
                </c:pt>
                <c:pt idx="144">
                  <c:v>24</c:v>
                </c:pt>
                <c:pt idx="145">
                  <c:v>23</c:v>
                </c:pt>
                <c:pt idx="146">
                  <c:v>20</c:v>
                </c:pt>
                <c:pt idx="147">
                  <c:v>21</c:v>
                </c:pt>
                <c:pt idx="148">
                  <c:v>21</c:v>
                </c:pt>
                <c:pt idx="149">
                  <c:v>20</c:v>
                </c:pt>
                <c:pt idx="150">
                  <c:v>20</c:v>
                </c:pt>
                <c:pt idx="151">
                  <c:v>18</c:v>
                </c:pt>
                <c:pt idx="152">
                  <c:v>21</c:v>
                </c:pt>
                <c:pt idx="153">
                  <c:v>24</c:v>
                </c:pt>
                <c:pt idx="154">
                  <c:v>24</c:v>
                </c:pt>
                <c:pt idx="155">
                  <c:v>25</c:v>
                </c:pt>
                <c:pt idx="156">
                  <c:v>23</c:v>
                </c:pt>
                <c:pt idx="157">
                  <c:v>23</c:v>
                </c:pt>
                <c:pt idx="158">
                  <c:v>25</c:v>
                </c:pt>
                <c:pt idx="159">
                  <c:v>29</c:v>
                </c:pt>
                <c:pt idx="160">
                  <c:v>32</c:v>
                </c:pt>
                <c:pt idx="161">
                  <c:v>40</c:v>
                </c:pt>
                <c:pt idx="162">
                  <c:v>40</c:v>
                </c:pt>
                <c:pt idx="163">
                  <c:v>44</c:v>
                </c:pt>
                <c:pt idx="164">
                  <c:v>44</c:v>
                </c:pt>
                <c:pt idx="165">
                  <c:v>42</c:v>
                </c:pt>
                <c:pt idx="166">
                  <c:v>41</c:v>
                </c:pt>
                <c:pt idx="167">
                  <c:v>42</c:v>
                </c:pt>
                <c:pt idx="168">
                  <c:v>47</c:v>
                </c:pt>
                <c:pt idx="169">
                  <c:v>51</c:v>
                </c:pt>
                <c:pt idx="170">
                  <c:v>52</c:v>
                </c:pt>
                <c:pt idx="171">
                  <c:v>51</c:v>
                </c:pt>
                <c:pt idx="172">
                  <c:v>45</c:v>
                </c:pt>
                <c:pt idx="173">
                  <c:v>54</c:v>
                </c:pt>
                <c:pt idx="174">
                  <c:v>52</c:v>
                </c:pt>
                <c:pt idx="175">
                  <c:v>55</c:v>
                </c:pt>
                <c:pt idx="176">
                  <c:v>57</c:v>
                </c:pt>
                <c:pt idx="177">
                  <c:v>59</c:v>
                </c:pt>
                <c:pt idx="178">
                  <c:v>67</c:v>
                </c:pt>
                <c:pt idx="179">
                  <c:v>84</c:v>
                </c:pt>
                <c:pt idx="180">
                  <c:v>98</c:v>
                </c:pt>
                <c:pt idx="181">
                  <c:v>110</c:v>
                </c:pt>
                <c:pt idx="182">
                  <c:v>11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7CD-4BA3-857E-B86804E5EE02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Sesterská povolání</c:v>
                </c:pt>
              </c:strCache>
            </c:strRef>
          </c:tx>
          <c:spPr>
            <a:ln w="28575" cap="rnd">
              <a:solidFill>
                <a:srgbClr val="ED7D31"/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82"/>
              <c:layout>
                <c:manualLayout>
                  <c:x val="1.7754105636927238E-3"/>
                  <c:y val="9.1782611050075675E-8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l">
                    <a:defRPr sz="1200" b="1" i="0" u="none" strike="noStrike" kern="1200" baseline="0">
                      <a:solidFill>
                        <a:srgbClr val="ED7D31"/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197070572569906"/>
                      <c:h val="4.7324949909640007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37CD-4BA3-857E-B86804E5EE0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0"/>
              <a:lstStyle/>
              <a:p>
                <a:pPr algn="l">
                  <a:defRPr sz="1200" b="0" i="0" u="none" strike="noStrike" kern="1200" baseline="0">
                    <a:solidFill>
                      <a:schemeClr val="tx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List1!$B$1:$GB$1</c:f>
              <c:strCache>
                <c:ptCount val="183"/>
                <c:pt idx="0">
                  <c:v>22.04.21</c:v>
                </c:pt>
                <c:pt idx="1">
                  <c:v>23.04.21</c:v>
                </c:pt>
                <c:pt idx="2">
                  <c:v>24.04.21</c:v>
                </c:pt>
                <c:pt idx="3">
                  <c:v>25.04.21</c:v>
                </c:pt>
                <c:pt idx="4">
                  <c:v>26.04.21</c:v>
                </c:pt>
                <c:pt idx="5">
                  <c:v>27.04.21</c:v>
                </c:pt>
                <c:pt idx="6">
                  <c:v>28.04.21</c:v>
                </c:pt>
                <c:pt idx="7">
                  <c:v>29.04.21</c:v>
                </c:pt>
                <c:pt idx="8">
                  <c:v>30.04.21</c:v>
                </c:pt>
                <c:pt idx="9">
                  <c:v>01.05.21</c:v>
                </c:pt>
                <c:pt idx="10">
                  <c:v>02.05.21</c:v>
                </c:pt>
                <c:pt idx="11">
                  <c:v>03.05.21</c:v>
                </c:pt>
                <c:pt idx="12">
                  <c:v>04.05.21</c:v>
                </c:pt>
                <c:pt idx="13">
                  <c:v>05.05.21</c:v>
                </c:pt>
                <c:pt idx="14">
                  <c:v>06.05.21</c:v>
                </c:pt>
                <c:pt idx="15">
                  <c:v>07.05.21</c:v>
                </c:pt>
                <c:pt idx="16">
                  <c:v>08.05.21</c:v>
                </c:pt>
                <c:pt idx="17">
                  <c:v>09.05.21</c:v>
                </c:pt>
                <c:pt idx="18">
                  <c:v>10.05.21</c:v>
                </c:pt>
                <c:pt idx="19">
                  <c:v>11.05.21</c:v>
                </c:pt>
                <c:pt idx="20">
                  <c:v>12.05.21</c:v>
                </c:pt>
                <c:pt idx="21">
                  <c:v>13.05.21</c:v>
                </c:pt>
                <c:pt idx="22">
                  <c:v>14.05.21</c:v>
                </c:pt>
                <c:pt idx="23">
                  <c:v>15.05.21</c:v>
                </c:pt>
                <c:pt idx="24">
                  <c:v>16.05.21</c:v>
                </c:pt>
                <c:pt idx="25">
                  <c:v>17.05.21</c:v>
                </c:pt>
                <c:pt idx="26">
                  <c:v>18.05.21</c:v>
                </c:pt>
                <c:pt idx="27">
                  <c:v>19.05.21</c:v>
                </c:pt>
                <c:pt idx="28">
                  <c:v>20.05.21</c:v>
                </c:pt>
                <c:pt idx="29">
                  <c:v>21.05.21</c:v>
                </c:pt>
                <c:pt idx="30">
                  <c:v>22.05.21</c:v>
                </c:pt>
                <c:pt idx="31">
                  <c:v>23.05.21</c:v>
                </c:pt>
                <c:pt idx="32">
                  <c:v>24.05.21</c:v>
                </c:pt>
                <c:pt idx="33">
                  <c:v>25.05.21</c:v>
                </c:pt>
                <c:pt idx="34">
                  <c:v>26.05.21</c:v>
                </c:pt>
                <c:pt idx="35">
                  <c:v>27.05.21</c:v>
                </c:pt>
                <c:pt idx="36">
                  <c:v>28.05.21</c:v>
                </c:pt>
                <c:pt idx="37">
                  <c:v>29.05.21</c:v>
                </c:pt>
                <c:pt idx="38">
                  <c:v>30.05.21</c:v>
                </c:pt>
                <c:pt idx="39">
                  <c:v>31.05.21</c:v>
                </c:pt>
                <c:pt idx="40">
                  <c:v>01.06.21</c:v>
                </c:pt>
                <c:pt idx="41">
                  <c:v>02.06.21</c:v>
                </c:pt>
                <c:pt idx="42">
                  <c:v>03.06.21</c:v>
                </c:pt>
                <c:pt idx="43">
                  <c:v>04.06.21</c:v>
                </c:pt>
                <c:pt idx="44">
                  <c:v>05.06.21</c:v>
                </c:pt>
                <c:pt idx="45">
                  <c:v>06.06.21</c:v>
                </c:pt>
                <c:pt idx="46">
                  <c:v>07.06.21</c:v>
                </c:pt>
                <c:pt idx="47">
                  <c:v>08.06.21</c:v>
                </c:pt>
                <c:pt idx="48">
                  <c:v>09.06.21</c:v>
                </c:pt>
                <c:pt idx="49">
                  <c:v>10.06.21</c:v>
                </c:pt>
                <c:pt idx="50">
                  <c:v>11.06.21</c:v>
                </c:pt>
                <c:pt idx="51">
                  <c:v>12.06.21</c:v>
                </c:pt>
                <c:pt idx="52">
                  <c:v>13.06.21</c:v>
                </c:pt>
                <c:pt idx="53">
                  <c:v>14.06.21</c:v>
                </c:pt>
                <c:pt idx="54">
                  <c:v>15.06.21</c:v>
                </c:pt>
                <c:pt idx="55">
                  <c:v>16.06.21</c:v>
                </c:pt>
                <c:pt idx="56">
                  <c:v>17.06.21</c:v>
                </c:pt>
                <c:pt idx="57">
                  <c:v>18.06.21</c:v>
                </c:pt>
                <c:pt idx="58">
                  <c:v>19.06.21</c:v>
                </c:pt>
                <c:pt idx="59">
                  <c:v>20.06.21</c:v>
                </c:pt>
                <c:pt idx="60">
                  <c:v>21.06.21</c:v>
                </c:pt>
                <c:pt idx="61">
                  <c:v>22.06.21</c:v>
                </c:pt>
                <c:pt idx="62">
                  <c:v>23.06.21</c:v>
                </c:pt>
                <c:pt idx="63">
                  <c:v>24.06.21</c:v>
                </c:pt>
                <c:pt idx="64">
                  <c:v>25.06.21</c:v>
                </c:pt>
                <c:pt idx="65">
                  <c:v>26.06.21</c:v>
                </c:pt>
                <c:pt idx="66">
                  <c:v>27.06.21</c:v>
                </c:pt>
                <c:pt idx="67">
                  <c:v>28.06.21</c:v>
                </c:pt>
                <c:pt idx="68">
                  <c:v>29.06.21</c:v>
                </c:pt>
                <c:pt idx="69">
                  <c:v>30.06.21</c:v>
                </c:pt>
                <c:pt idx="70">
                  <c:v>01.07.21</c:v>
                </c:pt>
                <c:pt idx="71">
                  <c:v>02.07.21</c:v>
                </c:pt>
                <c:pt idx="72">
                  <c:v>03.07.21</c:v>
                </c:pt>
                <c:pt idx="73">
                  <c:v>04.07.21</c:v>
                </c:pt>
                <c:pt idx="74">
                  <c:v>05.07.21</c:v>
                </c:pt>
                <c:pt idx="75">
                  <c:v>06.07.21</c:v>
                </c:pt>
                <c:pt idx="76">
                  <c:v>07.07.21</c:v>
                </c:pt>
                <c:pt idx="77">
                  <c:v>08.07.21</c:v>
                </c:pt>
                <c:pt idx="78">
                  <c:v>09.07.21</c:v>
                </c:pt>
                <c:pt idx="79">
                  <c:v>10.07.21</c:v>
                </c:pt>
                <c:pt idx="80">
                  <c:v>11.07.21</c:v>
                </c:pt>
                <c:pt idx="81">
                  <c:v>12.07.21</c:v>
                </c:pt>
                <c:pt idx="82">
                  <c:v>13.07.21</c:v>
                </c:pt>
                <c:pt idx="83">
                  <c:v>14.07.21</c:v>
                </c:pt>
                <c:pt idx="84">
                  <c:v>15.07.21</c:v>
                </c:pt>
                <c:pt idx="85">
                  <c:v>16.07.21</c:v>
                </c:pt>
                <c:pt idx="86">
                  <c:v>17.07.21</c:v>
                </c:pt>
                <c:pt idx="87">
                  <c:v>18.07.21</c:v>
                </c:pt>
                <c:pt idx="88">
                  <c:v>19.07.21</c:v>
                </c:pt>
                <c:pt idx="89">
                  <c:v>20.07.21</c:v>
                </c:pt>
                <c:pt idx="90">
                  <c:v>21.07.21</c:v>
                </c:pt>
                <c:pt idx="91">
                  <c:v>22.07.21</c:v>
                </c:pt>
                <c:pt idx="92">
                  <c:v>23.07.21</c:v>
                </c:pt>
                <c:pt idx="93">
                  <c:v>24.07.21</c:v>
                </c:pt>
                <c:pt idx="94">
                  <c:v>25.07.21</c:v>
                </c:pt>
                <c:pt idx="95">
                  <c:v>26.07.21</c:v>
                </c:pt>
                <c:pt idx="96">
                  <c:v>27.07.21</c:v>
                </c:pt>
                <c:pt idx="97">
                  <c:v>28.07.21</c:v>
                </c:pt>
                <c:pt idx="98">
                  <c:v>29.07.21</c:v>
                </c:pt>
                <c:pt idx="99">
                  <c:v>30.07.21</c:v>
                </c:pt>
                <c:pt idx="100">
                  <c:v>31.07.21</c:v>
                </c:pt>
                <c:pt idx="101">
                  <c:v>01.08.21</c:v>
                </c:pt>
                <c:pt idx="102">
                  <c:v>02.08.21</c:v>
                </c:pt>
                <c:pt idx="103">
                  <c:v>03.08.21</c:v>
                </c:pt>
                <c:pt idx="104">
                  <c:v>04.08.21</c:v>
                </c:pt>
                <c:pt idx="105">
                  <c:v>05.08.21</c:v>
                </c:pt>
                <c:pt idx="106">
                  <c:v>06.08.21</c:v>
                </c:pt>
                <c:pt idx="107">
                  <c:v>07.08.21</c:v>
                </c:pt>
                <c:pt idx="108">
                  <c:v>08.08.21</c:v>
                </c:pt>
                <c:pt idx="109">
                  <c:v>09.08.21</c:v>
                </c:pt>
                <c:pt idx="110">
                  <c:v>10.08.21</c:v>
                </c:pt>
                <c:pt idx="111">
                  <c:v>11.08.21</c:v>
                </c:pt>
                <c:pt idx="112">
                  <c:v>12.08.21</c:v>
                </c:pt>
                <c:pt idx="113">
                  <c:v>13.08.21</c:v>
                </c:pt>
                <c:pt idx="114">
                  <c:v>14.08.21</c:v>
                </c:pt>
                <c:pt idx="115">
                  <c:v>15.08.21</c:v>
                </c:pt>
                <c:pt idx="116">
                  <c:v>16.08.21</c:v>
                </c:pt>
                <c:pt idx="117">
                  <c:v>17.08.21</c:v>
                </c:pt>
                <c:pt idx="118">
                  <c:v>18.08.21</c:v>
                </c:pt>
                <c:pt idx="119">
                  <c:v>19.08.21</c:v>
                </c:pt>
                <c:pt idx="120">
                  <c:v>20.08.21</c:v>
                </c:pt>
                <c:pt idx="121">
                  <c:v>21.08.21</c:v>
                </c:pt>
                <c:pt idx="122">
                  <c:v>22.08.21</c:v>
                </c:pt>
                <c:pt idx="123">
                  <c:v>23.08.21</c:v>
                </c:pt>
                <c:pt idx="124">
                  <c:v>24.08.21</c:v>
                </c:pt>
                <c:pt idx="125">
                  <c:v>25.08.21</c:v>
                </c:pt>
                <c:pt idx="126">
                  <c:v>26.08.21</c:v>
                </c:pt>
                <c:pt idx="127">
                  <c:v>27.08.21</c:v>
                </c:pt>
                <c:pt idx="128">
                  <c:v>28.08.21</c:v>
                </c:pt>
                <c:pt idx="129">
                  <c:v>29.08.21</c:v>
                </c:pt>
                <c:pt idx="130">
                  <c:v>30.08.21</c:v>
                </c:pt>
                <c:pt idx="131">
                  <c:v>31.08.21</c:v>
                </c:pt>
                <c:pt idx="132">
                  <c:v>01.09.21</c:v>
                </c:pt>
                <c:pt idx="133">
                  <c:v>02.09.21</c:v>
                </c:pt>
                <c:pt idx="134">
                  <c:v>03.09.21</c:v>
                </c:pt>
                <c:pt idx="135">
                  <c:v>04.09.21</c:v>
                </c:pt>
                <c:pt idx="136">
                  <c:v>05.09.21</c:v>
                </c:pt>
                <c:pt idx="137">
                  <c:v>06.09.21</c:v>
                </c:pt>
                <c:pt idx="138">
                  <c:v>07.09.21</c:v>
                </c:pt>
                <c:pt idx="139">
                  <c:v>08.09.21</c:v>
                </c:pt>
                <c:pt idx="140">
                  <c:v>09.09.21</c:v>
                </c:pt>
                <c:pt idx="141">
                  <c:v>10.09.21</c:v>
                </c:pt>
                <c:pt idx="142">
                  <c:v>11.09.21</c:v>
                </c:pt>
                <c:pt idx="143">
                  <c:v>12.09.21</c:v>
                </c:pt>
                <c:pt idx="144">
                  <c:v>13.09.21</c:v>
                </c:pt>
                <c:pt idx="145">
                  <c:v>14.09.21</c:v>
                </c:pt>
                <c:pt idx="146">
                  <c:v>15.09.21</c:v>
                </c:pt>
                <c:pt idx="147">
                  <c:v>16.09.21</c:v>
                </c:pt>
                <c:pt idx="148">
                  <c:v>17.09.21</c:v>
                </c:pt>
                <c:pt idx="149">
                  <c:v>18.09.21</c:v>
                </c:pt>
                <c:pt idx="150">
                  <c:v>19.09.21</c:v>
                </c:pt>
                <c:pt idx="151">
                  <c:v>20.09.21</c:v>
                </c:pt>
                <c:pt idx="152">
                  <c:v>21.09.21</c:v>
                </c:pt>
                <c:pt idx="153">
                  <c:v>22.09.21</c:v>
                </c:pt>
                <c:pt idx="154">
                  <c:v>23.09.21</c:v>
                </c:pt>
                <c:pt idx="155">
                  <c:v>24.09.21</c:v>
                </c:pt>
                <c:pt idx="156">
                  <c:v>25.09.21</c:v>
                </c:pt>
                <c:pt idx="157">
                  <c:v>26.09.21</c:v>
                </c:pt>
                <c:pt idx="158">
                  <c:v>27.09.21</c:v>
                </c:pt>
                <c:pt idx="159">
                  <c:v>28.09.21</c:v>
                </c:pt>
                <c:pt idx="160">
                  <c:v>29.09.21</c:v>
                </c:pt>
                <c:pt idx="161">
                  <c:v>30.09.21</c:v>
                </c:pt>
                <c:pt idx="162">
                  <c:v>01.10.21</c:v>
                </c:pt>
                <c:pt idx="163">
                  <c:v>02.10.21</c:v>
                </c:pt>
                <c:pt idx="164">
                  <c:v>03.10.21</c:v>
                </c:pt>
                <c:pt idx="165">
                  <c:v>04.10.21</c:v>
                </c:pt>
                <c:pt idx="166">
                  <c:v>05.10.21</c:v>
                </c:pt>
                <c:pt idx="167">
                  <c:v>06.10.21</c:v>
                </c:pt>
                <c:pt idx="168">
                  <c:v>07.10.21</c:v>
                </c:pt>
                <c:pt idx="169">
                  <c:v>08.10.21</c:v>
                </c:pt>
                <c:pt idx="170">
                  <c:v>09.10.21</c:v>
                </c:pt>
                <c:pt idx="171">
                  <c:v>10.10.21</c:v>
                </c:pt>
                <c:pt idx="172">
                  <c:v>11.10.21</c:v>
                </c:pt>
                <c:pt idx="173">
                  <c:v>12.10.21</c:v>
                </c:pt>
                <c:pt idx="174">
                  <c:v>13.10.21</c:v>
                </c:pt>
                <c:pt idx="175">
                  <c:v>14.10.21</c:v>
                </c:pt>
                <c:pt idx="176">
                  <c:v>15.10.21</c:v>
                </c:pt>
                <c:pt idx="177">
                  <c:v>16.10.21</c:v>
                </c:pt>
                <c:pt idx="178">
                  <c:v>17.10.21</c:v>
                </c:pt>
                <c:pt idx="179">
                  <c:v>18.10.21</c:v>
                </c:pt>
                <c:pt idx="180">
                  <c:v>19.10.21</c:v>
                </c:pt>
                <c:pt idx="181">
                  <c:v>20.10.21</c:v>
                </c:pt>
                <c:pt idx="182">
                  <c:v>21.10.21</c:v>
                </c:pt>
              </c:strCache>
            </c:strRef>
          </c:cat>
          <c:val>
            <c:numRef>
              <c:f>List1!$B$3:$GB$3</c:f>
              <c:numCache>
                <c:formatCode>General</c:formatCode>
                <c:ptCount val="183"/>
                <c:pt idx="0">
                  <c:v>275</c:v>
                </c:pt>
                <c:pt idx="1">
                  <c:v>265</c:v>
                </c:pt>
                <c:pt idx="2">
                  <c:v>257</c:v>
                </c:pt>
                <c:pt idx="3">
                  <c:v>253</c:v>
                </c:pt>
                <c:pt idx="4">
                  <c:v>232</c:v>
                </c:pt>
                <c:pt idx="5">
                  <c:v>218</c:v>
                </c:pt>
                <c:pt idx="6">
                  <c:v>198</c:v>
                </c:pt>
                <c:pt idx="7">
                  <c:v>194</c:v>
                </c:pt>
                <c:pt idx="8">
                  <c:v>189</c:v>
                </c:pt>
                <c:pt idx="9">
                  <c:v>186</c:v>
                </c:pt>
                <c:pt idx="10">
                  <c:v>185</c:v>
                </c:pt>
                <c:pt idx="11">
                  <c:v>173</c:v>
                </c:pt>
                <c:pt idx="12">
                  <c:v>158</c:v>
                </c:pt>
                <c:pt idx="13">
                  <c:v>150</c:v>
                </c:pt>
                <c:pt idx="14">
                  <c:v>139</c:v>
                </c:pt>
                <c:pt idx="15">
                  <c:v>141</c:v>
                </c:pt>
                <c:pt idx="16">
                  <c:v>139</c:v>
                </c:pt>
                <c:pt idx="17">
                  <c:v>138</c:v>
                </c:pt>
                <c:pt idx="18">
                  <c:v>134</c:v>
                </c:pt>
                <c:pt idx="19">
                  <c:v>142</c:v>
                </c:pt>
                <c:pt idx="20">
                  <c:v>141</c:v>
                </c:pt>
                <c:pt idx="21">
                  <c:v>134</c:v>
                </c:pt>
                <c:pt idx="22">
                  <c:v>126</c:v>
                </c:pt>
                <c:pt idx="23">
                  <c:v>121</c:v>
                </c:pt>
                <c:pt idx="24">
                  <c:v>119</c:v>
                </c:pt>
                <c:pt idx="25">
                  <c:v>107</c:v>
                </c:pt>
                <c:pt idx="26">
                  <c:v>100</c:v>
                </c:pt>
                <c:pt idx="27">
                  <c:v>91</c:v>
                </c:pt>
                <c:pt idx="28">
                  <c:v>90</c:v>
                </c:pt>
                <c:pt idx="29">
                  <c:v>79</c:v>
                </c:pt>
                <c:pt idx="30">
                  <c:v>78</c:v>
                </c:pt>
                <c:pt idx="31">
                  <c:v>77</c:v>
                </c:pt>
                <c:pt idx="32">
                  <c:v>62</c:v>
                </c:pt>
                <c:pt idx="33">
                  <c:v>56</c:v>
                </c:pt>
                <c:pt idx="34">
                  <c:v>55</c:v>
                </c:pt>
                <c:pt idx="35">
                  <c:v>46</c:v>
                </c:pt>
                <c:pt idx="36">
                  <c:v>44</c:v>
                </c:pt>
                <c:pt idx="37">
                  <c:v>41</c:v>
                </c:pt>
                <c:pt idx="38">
                  <c:v>40</c:v>
                </c:pt>
                <c:pt idx="39">
                  <c:v>36</c:v>
                </c:pt>
                <c:pt idx="40">
                  <c:v>36</c:v>
                </c:pt>
                <c:pt idx="41">
                  <c:v>32</c:v>
                </c:pt>
                <c:pt idx="42">
                  <c:v>34</c:v>
                </c:pt>
                <c:pt idx="43">
                  <c:v>31</c:v>
                </c:pt>
                <c:pt idx="44">
                  <c:v>29</c:v>
                </c:pt>
                <c:pt idx="45">
                  <c:v>30</c:v>
                </c:pt>
                <c:pt idx="46">
                  <c:v>27</c:v>
                </c:pt>
                <c:pt idx="47">
                  <c:v>23</c:v>
                </c:pt>
                <c:pt idx="48">
                  <c:v>20</c:v>
                </c:pt>
                <c:pt idx="49">
                  <c:v>20</c:v>
                </c:pt>
                <c:pt idx="50">
                  <c:v>17</c:v>
                </c:pt>
                <c:pt idx="51">
                  <c:v>18</c:v>
                </c:pt>
                <c:pt idx="52">
                  <c:v>20</c:v>
                </c:pt>
                <c:pt idx="53">
                  <c:v>18</c:v>
                </c:pt>
                <c:pt idx="54">
                  <c:v>16</c:v>
                </c:pt>
                <c:pt idx="55">
                  <c:v>16</c:v>
                </c:pt>
                <c:pt idx="56">
                  <c:v>15</c:v>
                </c:pt>
                <c:pt idx="57">
                  <c:v>16</c:v>
                </c:pt>
                <c:pt idx="58">
                  <c:v>17</c:v>
                </c:pt>
                <c:pt idx="59">
                  <c:v>17</c:v>
                </c:pt>
                <c:pt idx="60">
                  <c:v>16</c:v>
                </c:pt>
                <c:pt idx="61">
                  <c:v>14</c:v>
                </c:pt>
                <c:pt idx="62">
                  <c:v>14</c:v>
                </c:pt>
                <c:pt idx="63">
                  <c:v>14</c:v>
                </c:pt>
                <c:pt idx="64">
                  <c:v>13</c:v>
                </c:pt>
                <c:pt idx="65">
                  <c:v>13</c:v>
                </c:pt>
                <c:pt idx="66">
                  <c:v>11</c:v>
                </c:pt>
                <c:pt idx="67">
                  <c:v>12</c:v>
                </c:pt>
                <c:pt idx="68">
                  <c:v>14</c:v>
                </c:pt>
                <c:pt idx="69">
                  <c:v>13</c:v>
                </c:pt>
                <c:pt idx="70">
                  <c:v>12</c:v>
                </c:pt>
                <c:pt idx="71">
                  <c:v>12</c:v>
                </c:pt>
                <c:pt idx="72">
                  <c:v>12</c:v>
                </c:pt>
                <c:pt idx="73">
                  <c:v>13</c:v>
                </c:pt>
                <c:pt idx="74">
                  <c:v>17</c:v>
                </c:pt>
                <c:pt idx="75">
                  <c:v>17</c:v>
                </c:pt>
                <c:pt idx="76">
                  <c:v>17</c:v>
                </c:pt>
                <c:pt idx="77">
                  <c:v>16</c:v>
                </c:pt>
                <c:pt idx="78">
                  <c:v>16</c:v>
                </c:pt>
                <c:pt idx="79">
                  <c:v>16</c:v>
                </c:pt>
                <c:pt idx="80">
                  <c:v>15</c:v>
                </c:pt>
                <c:pt idx="81">
                  <c:v>15</c:v>
                </c:pt>
                <c:pt idx="82">
                  <c:v>17</c:v>
                </c:pt>
                <c:pt idx="83">
                  <c:v>19</c:v>
                </c:pt>
                <c:pt idx="84">
                  <c:v>20</c:v>
                </c:pt>
                <c:pt idx="85">
                  <c:v>18</c:v>
                </c:pt>
                <c:pt idx="86">
                  <c:v>17</c:v>
                </c:pt>
                <c:pt idx="87">
                  <c:v>17</c:v>
                </c:pt>
                <c:pt idx="88">
                  <c:v>19</c:v>
                </c:pt>
                <c:pt idx="89">
                  <c:v>19</c:v>
                </c:pt>
                <c:pt idx="90">
                  <c:v>22</c:v>
                </c:pt>
                <c:pt idx="91">
                  <c:v>22</c:v>
                </c:pt>
                <c:pt idx="92">
                  <c:v>25</c:v>
                </c:pt>
                <c:pt idx="93">
                  <c:v>26</c:v>
                </c:pt>
                <c:pt idx="94">
                  <c:v>27</c:v>
                </c:pt>
                <c:pt idx="95">
                  <c:v>26</c:v>
                </c:pt>
                <c:pt idx="96">
                  <c:v>24</c:v>
                </c:pt>
                <c:pt idx="97">
                  <c:v>23</c:v>
                </c:pt>
                <c:pt idx="98">
                  <c:v>22</c:v>
                </c:pt>
                <c:pt idx="99">
                  <c:v>23</c:v>
                </c:pt>
                <c:pt idx="100">
                  <c:v>23</c:v>
                </c:pt>
                <c:pt idx="101">
                  <c:v>23</c:v>
                </c:pt>
                <c:pt idx="102">
                  <c:v>19</c:v>
                </c:pt>
                <c:pt idx="103">
                  <c:v>21</c:v>
                </c:pt>
                <c:pt idx="104">
                  <c:v>19</c:v>
                </c:pt>
                <c:pt idx="105">
                  <c:v>18</c:v>
                </c:pt>
                <c:pt idx="106">
                  <c:v>15</c:v>
                </c:pt>
                <c:pt idx="107">
                  <c:v>14</c:v>
                </c:pt>
                <c:pt idx="108">
                  <c:v>11</c:v>
                </c:pt>
                <c:pt idx="109">
                  <c:v>13</c:v>
                </c:pt>
                <c:pt idx="110">
                  <c:v>15</c:v>
                </c:pt>
                <c:pt idx="111">
                  <c:v>17</c:v>
                </c:pt>
                <c:pt idx="112">
                  <c:v>17</c:v>
                </c:pt>
                <c:pt idx="113">
                  <c:v>19</c:v>
                </c:pt>
                <c:pt idx="114">
                  <c:v>20</c:v>
                </c:pt>
                <c:pt idx="115">
                  <c:v>21</c:v>
                </c:pt>
                <c:pt idx="116">
                  <c:v>23</c:v>
                </c:pt>
                <c:pt idx="117">
                  <c:v>25</c:v>
                </c:pt>
                <c:pt idx="118">
                  <c:v>26</c:v>
                </c:pt>
                <c:pt idx="119">
                  <c:v>26</c:v>
                </c:pt>
                <c:pt idx="120">
                  <c:v>26</c:v>
                </c:pt>
                <c:pt idx="121">
                  <c:v>26</c:v>
                </c:pt>
                <c:pt idx="122">
                  <c:v>26</c:v>
                </c:pt>
                <c:pt idx="123">
                  <c:v>28</c:v>
                </c:pt>
                <c:pt idx="124">
                  <c:v>29</c:v>
                </c:pt>
                <c:pt idx="125">
                  <c:v>26</c:v>
                </c:pt>
                <c:pt idx="126">
                  <c:v>27</c:v>
                </c:pt>
                <c:pt idx="127">
                  <c:v>26</c:v>
                </c:pt>
                <c:pt idx="128">
                  <c:v>26</c:v>
                </c:pt>
                <c:pt idx="129">
                  <c:v>25</c:v>
                </c:pt>
                <c:pt idx="130">
                  <c:v>20</c:v>
                </c:pt>
                <c:pt idx="131">
                  <c:v>21</c:v>
                </c:pt>
                <c:pt idx="132">
                  <c:v>19</c:v>
                </c:pt>
                <c:pt idx="133">
                  <c:v>24</c:v>
                </c:pt>
                <c:pt idx="134">
                  <c:v>30</c:v>
                </c:pt>
                <c:pt idx="135">
                  <c:v>31</c:v>
                </c:pt>
                <c:pt idx="136">
                  <c:v>29</c:v>
                </c:pt>
                <c:pt idx="137">
                  <c:v>27</c:v>
                </c:pt>
                <c:pt idx="138">
                  <c:v>32</c:v>
                </c:pt>
                <c:pt idx="139">
                  <c:v>32</c:v>
                </c:pt>
                <c:pt idx="140">
                  <c:v>34</c:v>
                </c:pt>
                <c:pt idx="141">
                  <c:v>34</c:v>
                </c:pt>
                <c:pt idx="142">
                  <c:v>33</c:v>
                </c:pt>
                <c:pt idx="143">
                  <c:v>34</c:v>
                </c:pt>
                <c:pt idx="144">
                  <c:v>35</c:v>
                </c:pt>
                <c:pt idx="145">
                  <c:v>37</c:v>
                </c:pt>
                <c:pt idx="146">
                  <c:v>39</c:v>
                </c:pt>
                <c:pt idx="147">
                  <c:v>41</c:v>
                </c:pt>
                <c:pt idx="148">
                  <c:v>40</c:v>
                </c:pt>
                <c:pt idx="149">
                  <c:v>42</c:v>
                </c:pt>
                <c:pt idx="150">
                  <c:v>43</c:v>
                </c:pt>
                <c:pt idx="151">
                  <c:v>50</c:v>
                </c:pt>
                <c:pt idx="152">
                  <c:v>52</c:v>
                </c:pt>
                <c:pt idx="153">
                  <c:v>57</c:v>
                </c:pt>
                <c:pt idx="154">
                  <c:v>60</c:v>
                </c:pt>
                <c:pt idx="155">
                  <c:v>67</c:v>
                </c:pt>
                <c:pt idx="156">
                  <c:v>73</c:v>
                </c:pt>
                <c:pt idx="157">
                  <c:v>75</c:v>
                </c:pt>
                <c:pt idx="158">
                  <c:v>77</c:v>
                </c:pt>
                <c:pt idx="159">
                  <c:v>82</c:v>
                </c:pt>
                <c:pt idx="160">
                  <c:v>88</c:v>
                </c:pt>
                <c:pt idx="161">
                  <c:v>96</c:v>
                </c:pt>
                <c:pt idx="162">
                  <c:v>97</c:v>
                </c:pt>
                <c:pt idx="163">
                  <c:v>98</c:v>
                </c:pt>
                <c:pt idx="164">
                  <c:v>104</c:v>
                </c:pt>
                <c:pt idx="165">
                  <c:v>103</c:v>
                </c:pt>
                <c:pt idx="166">
                  <c:v>111</c:v>
                </c:pt>
                <c:pt idx="167">
                  <c:v>115</c:v>
                </c:pt>
                <c:pt idx="168">
                  <c:v>117</c:v>
                </c:pt>
                <c:pt idx="169">
                  <c:v>117</c:v>
                </c:pt>
                <c:pt idx="170">
                  <c:v>117</c:v>
                </c:pt>
                <c:pt idx="171">
                  <c:v>116</c:v>
                </c:pt>
                <c:pt idx="172">
                  <c:v>126</c:v>
                </c:pt>
                <c:pt idx="173">
                  <c:v>138</c:v>
                </c:pt>
                <c:pt idx="174">
                  <c:v>138</c:v>
                </c:pt>
                <c:pt idx="175">
                  <c:v>146</c:v>
                </c:pt>
                <c:pt idx="176">
                  <c:v>156</c:v>
                </c:pt>
                <c:pt idx="177">
                  <c:v>161</c:v>
                </c:pt>
                <c:pt idx="178">
                  <c:v>171</c:v>
                </c:pt>
                <c:pt idx="179">
                  <c:v>202</c:v>
                </c:pt>
                <c:pt idx="180">
                  <c:v>226</c:v>
                </c:pt>
                <c:pt idx="181">
                  <c:v>249</c:v>
                </c:pt>
                <c:pt idx="182">
                  <c:v>28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37CD-4BA3-857E-B86804E5EE02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Ostatní zdravotničtí pracovníci</c:v>
                </c:pt>
              </c:strCache>
            </c:strRef>
          </c:tx>
          <c:spPr>
            <a:ln w="28575" cap="rnd">
              <a:solidFill>
                <a:schemeClr val="bg1">
                  <a:lumMod val="65000"/>
                </a:schemeClr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82"/>
              <c:layout>
                <c:manualLayout>
                  <c:x val="-1.3019527064393282E-16"/>
                  <c:y val="-4.6625474630827481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l">
                    <a:defRPr sz="1200" b="1" i="0" u="none" strike="noStrike" kern="1200" baseline="0">
                      <a:solidFill>
                        <a:schemeClr val="bg1">
                          <a:lumMod val="50000"/>
                        </a:schemeClr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601304996662368"/>
                      <c:h val="7.5300289757703073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6-37CD-4BA3-857E-B86804E5EE0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GB$1</c:f>
              <c:strCache>
                <c:ptCount val="183"/>
                <c:pt idx="0">
                  <c:v>22.04.21</c:v>
                </c:pt>
                <c:pt idx="1">
                  <c:v>23.04.21</c:v>
                </c:pt>
                <c:pt idx="2">
                  <c:v>24.04.21</c:v>
                </c:pt>
                <c:pt idx="3">
                  <c:v>25.04.21</c:v>
                </c:pt>
                <c:pt idx="4">
                  <c:v>26.04.21</c:v>
                </c:pt>
                <c:pt idx="5">
                  <c:v>27.04.21</c:v>
                </c:pt>
                <c:pt idx="6">
                  <c:v>28.04.21</c:v>
                </c:pt>
                <c:pt idx="7">
                  <c:v>29.04.21</c:v>
                </c:pt>
                <c:pt idx="8">
                  <c:v>30.04.21</c:v>
                </c:pt>
                <c:pt idx="9">
                  <c:v>01.05.21</c:v>
                </c:pt>
                <c:pt idx="10">
                  <c:v>02.05.21</c:v>
                </c:pt>
                <c:pt idx="11">
                  <c:v>03.05.21</c:v>
                </c:pt>
                <c:pt idx="12">
                  <c:v>04.05.21</c:v>
                </c:pt>
                <c:pt idx="13">
                  <c:v>05.05.21</c:v>
                </c:pt>
                <c:pt idx="14">
                  <c:v>06.05.21</c:v>
                </c:pt>
                <c:pt idx="15">
                  <c:v>07.05.21</c:v>
                </c:pt>
                <c:pt idx="16">
                  <c:v>08.05.21</c:v>
                </c:pt>
                <c:pt idx="17">
                  <c:v>09.05.21</c:v>
                </c:pt>
                <c:pt idx="18">
                  <c:v>10.05.21</c:v>
                </c:pt>
                <c:pt idx="19">
                  <c:v>11.05.21</c:v>
                </c:pt>
                <c:pt idx="20">
                  <c:v>12.05.21</c:v>
                </c:pt>
                <c:pt idx="21">
                  <c:v>13.05.21</c:v>
                </c:pt>
                <c:pt idx="22">
                  <c:v>14.05.21</c:v>
                </c:pt>
                <c:pt idx="23">
                  <c:v>15.05.21</c:v>
                </c:pt>
                <c:pt idx="24">
                  <c:v>16.05.21</c:v>
                </c:pt>
                <c:pt idx="25">
                  <c:v>17.05.21</c:v>
                </c:pt>
                <c:pt idx="26">
                  <c:v>18.05.21</c:v>
                </c:pt>
                <c:pt idx="27">
                  <c:v>19.05.21</c:v>
                </c:pt>
                <c:pt idx="28">
                  <c:v>20.05.21</c:v>
                </c:pt>
                <c:pt idx="29">
                  <c:v>21.05.21</c:v>
                </c:pt>
                <c:pt idx="30">
                  <c:v>22.05.21</c:v>
                </c:pt>
                <c:pt idx="31">
                  <c:v>23.05.21</c:v>
                </c:pt>
                <c:pt idx="32">
                  <c:v>24.05.21</c:v>
                </c:pt>
                <c:pt idx="33">
                  <c:v>25.05.21</c:v>
                </c:pt>
                <c:pt idx="34">
                  <c:v>26.05.21</c:v>
                </c:pt>
                <c:pt idx="35">
                  <c:v>27.05.21</c:v>
                </c:pt>
                <c:pt idx="36">
                  <c:v>28.05.21</c:v>
                </c:pt>
                <c:pt idx="37">
                  <c:v>29.05.21</c:v>
                </c:pt>
                <c:pt idx="38">
                  <c:v>30.05.21</c:v>
                </c:pt>
                <c:pt idx="39">
                  <c:v>31.05.21</c:v>
                </c:pt>
                <c:pt idx="40">
                  <c:v>01.06.21</c:v>
                </c:pt>
                <c:pt idx="41">
                  <c:v>02.06.21</c:v>
                </c:pt>
                <c:pt idx="42">
                  <c:v>03.06.21</c:v>
                </c:pt>
                <c:pt idx="43">
                  <c:v>04.06.21</c:v>
                </c:pt>
                <c:pt idx="44">
                  <c:v>05.06.21</c:v>
                </c:pt>
                <c:pt idx="45">
                  <c:v>06.06.21</c:v>
                </c:pt>
                <c:pt idx="46">
                  <c:v>07.06.21</c:v>
                </c:pt>
                <c:pt idx="47">
                  <c:v>08.06.21</c:v>
                </c:pt>
                <c:pt idx="48">
                  <c:v>09.06.21</c:v>
                </c:pt>
                <c:pt idx="49">
                  <c:v>10.06.21</c:v>
                </c:pt>
                <c:pt idx="50">
                  <c:v>11.06.21</c:v>
                </c:pt>
                <c:pt idx="51">
                  <c:v>12.06.21</c:v>
                </c:pt>
                <c:pt idx="52">
                  <c:v>13.06.21</c:v>
                </c:pt>
                <c:pt idx="53">
                  <c:v>14.06.21</c:v>
                </c:pt>
                <c:pt idx="54">
                  <c:v>15.06.21</c:v>
                </c:pt>
                <c:pt idx="55">
                  <c:v>16.06.21</c:v>
                </c:pt>
                <c:pt idx="56">
                  <c:v>17.06.21</c:v>
                </c:pt>
                <c:pt idx="57">
                  <c:v>18.06.21</c:v>
                </c:pt>
                <c:pt idx="58">
                  <c:v>19.06.21</c:v>
                </c:pt>
                <c:pt idx="59">
                  <c:v>20.06.21</c:v>
                </c:pt>
                <c:pt idx="60">
                  <c:v>21.06.21</c:v>
                </c:pt>
                <c:pt idx="61">
                  <c:v>22.06.21</c:v>
                </c:pt>
                <c:pt idx="62">
                  <c:v>23.06.21</c:v>
                </c:pt>
                <c:pt idx="63">
                  <c:v>24.06.21</c:v>
                </c:pt>
                <c:pt idx="64">
                  <c:v>25.06.21</c:v>
                </c:pt>
                <c:pt idx="65">
                  <c:v>26.06.21</c:v>
                </c:pt>
                <c:pt idx="66">
                  <c:v>27.06.21</c:v>
                </c:pt>
                <c:pt idx="67">
                  <c:v>28.06.21</c:v>
                </c:pt>
                <c:pt idx="68">
                  <c:v>29.06.21</c:v>
                </c:pt>
                <c:pt idx="69">
                  <c:v>30.06.21</c:v>
                </c:pt>
                <c:pt idx="70">
                  <c:v>01.07.21</c:v>
                </c:pt>
                <c:pt idx="71">
                  <c:v>02.07.21</c:v>
                </c:pt>
                <c:pt idx="72">
                  <c:v>03.07.21</c:v>
                </c:pt>
                <c:pt idx="73">
                  <c:v>04.07.21</c:v>
                </c:pt>
                <c:pt idx="74">
                  <c:v>05.07.21</c:v>
                </c:pt>
                <c:pt idx="75">
                  <c:v>06.07.21</c:v>
                </c:pt>
                <c:pt idx="76">
                  <c:v>07.07.21</c:v>
                </c:pt>
                <c:pt idx="77">
                  <c:v>08.07.21</c:v>
                </c:pt>
                <c:pt idx="78">
                  <c:v>09.07.21</c:v>
                </c:pt>
                <c:pt idx="79">
                  <c:v>10.07.21</c:v>
                </c:pt>
                <c:pt idx="80">
                  <c:v>11.07.21</c:v>
                </c:pt>
                <c:pt idx="81">
                  <c:v>12.07.21</c:v>
                </c:pt>
                <c:pt idx="82">
                  <c:v>13.07.21</c:v>
                </c:pt>
                <c:pt idx="83">
                  <c:v>14.07.21</c:v>
                </c:pt>
                <c:pt idx="84">
                  <c:v>15.07.21</c:v>
                </c:pt>
                <c:pt idx="85">
                  <c:v>16.07.21</c:v>
                </c:pt>
                <c:pt idx="86">
                  <c:v>17.07.21</c:v>
                </c:pt>
                <c:pt idx="87">
                  <c:v>18.07.21</c:v>
                </c:pt>
                <c:pt idx="88">
                  <c:v>19.07.21</c:v>
                </c:pt>
                <c:pt idx="89">
                  <c:v>20.07.21</c:v>
                </c:pt>
                <c:pt idx="90">
                  <c:v>21.07.21</c:v>
                </c:pt>
                <c:pt idx="91">
                  <c:v>22.07.21</c:v>
                </c:pt>
                <c:pt idx="92">
                  <c:v>23.07.21</c:v>
                </c:pt>
                <c:pt idx="93">
                  <c:v>24.07.21</c:v>
                </c:pt>
                <c:pt idx="94">
                  <c:v>25.07.21</c:v>
                </c:pt>
                <c:pt idx="95">
                  <c:v>26.07.21</c:v>
                </c:pt>
                <c:pt idx="96">
                  <c:v>27.07.21</c:v>
                </c:pt>
                <c:pt idx="97">
                  <c:v>28.07.21</c:v>
                </c:pt>
                <c:pt idx="98">
                  <c:v>29.07.21</c:v>
                </c:pt>
                <c:pt idx="99">
                  <c:v>30.07.21</c:v>
                </c:pt>
                <c:pt idx="100">
                  <c:v>31.07.21</c:v>
                </c:pt>
                <c:pt idx="101">
                  <c:v>01.08.21</c:v>
                </c:pt>
                <c:pt idx="102">
                  <c:v>02.08.21</c:v>
                </c:pt>
                <c:pt idx="103">
                  <c:v>03.08.21</c:v>
                </c:pt>
                <c:pt idx="104">
                  <c:v>04.08.21</c:v>
                </c:pt>
                <c:pt idx="105">
                  <c:v>05.08.21</c:v>
                </c:pt>
                <c:pt idx="106">
                  <c:v>06.08.21</c:v>
                </c:pt>
                <c:pt idx="107">
                  <c:v>07.08.21</c:v>
                </c:pt>
                <c:pt idx="108">
                  <c:v>08.08.21</c:v>
                </c:pt>
                <c:pt idx="109">
                  <c:v>09.08.21</c:v>
                </c:pt>
                <c:pt idx="110">
                  <c:v>10.08.21</c:v>
                </c:pt>
                <c:pt idx="111">
                  <c:v>11.08.21</c:v>
                </c:pt>
                <c:pt idx="112">
                  <c:v>12.08.21</c:v>
                </c:pt>
                <c:pt idx="113">
                  <c:v>13.08.21</c:v>
                </c:pt>
                <c:pt idx="114">
                  <c:v>14.08.21</c:v>
                </c:pt>
                <c:pt idx="115">
                  <c:v>15.08.21</c:v>
                </c:pt>
                <c:pt idx="116">
                  <c:v>16.08.21</c:v>
                </c:pt>
                <c:pt idx="117">
                  <c:v>17.08.21</c:v>
                </c:pt>
                <c:pt idx="118">
                  <c:v>18.08.21</c:v>
                </c:pt>
                <c:pt idx="119">
                  <c:v>19.08.21</c:v>
                </c:pt>
                <c:pt idx="120">
                  <c:v>20.08.21</c:v>
                </c:pt>
                <c:pt idx="121">
                  <c:v>21.08.21</c:v>
                </c:pt>
                <c:pt idx="122">
                  <c:v>22.08.21</c:v>
                </c:pt>
                <c:pt idx="123">
                  <c:v>23.08.21</c:v>
                </c:pt>
                <c:pt idx="124">
                  <c:v>24.08.21</c:v>
                </c:pt>
                <c:pt idx="125">
                  <c:v>25.08.21</c:v>
                </c:pt>
                <c:pt idx="126">
                  <c:v>26.08.21</c:v>
                </c:pt>
                <c:pt idx="127">
                  <c:v>27.08.21</c:v>
                </c:pt>
                <c:pt idx="128">
                  <c:v>28.08.21</c:v>
                </c:pt>
                <c:pt idx="129">
                  <c:v>29.08.21</c:v>
                </c:pt>
                <c:pt idx="130">
                  <c:v>30.08.21</c:v>
                </c:pt>
                <c:pt idx="131">
                  <c:v>31.08.21</c:v>
                </c:pt>
                <c:pt idx="132">
                  <c:v>01.09.21</c:v>
                </c:pt>
                <c:pt idx="133">
                  <c:v>02.09.21</c:v>
                </c:pt>
                <c:pt idx="134">
                  <c:v>03.09.21</c:v>
                </c:pt>
                <c:pt idx="135">
                  <c:v>04.09.21</c:v>
                </c:pt>
                <c:pt idx="136">
                  <c:v>05.09.21</c:v>
                </c:pt>
                <c:pt idx="137">
                  <c:v>06.09.21</c:v>
                </c:pt>
                <c:pt idx="138">
                  <c:v>07.09.21</c:v>
                </c:pt>
                <c:pt idx="139">
                  <c:v>08.09.21</c:v>
                </c:pt>
                <c:pt idx="140">
                  <c:v>09.09.21</c:v>
                </c:pt>
                <c:pt idx="141">
                  <c:v>10.09.21</c:v>
                </c:pt>
                <c:pt idx="142">
                  <c:v>11.09.21</c:v>
                </c:pt>
                <c:pt idx="143">
                  <c:v>12.09.21</c:v>
                </c:pt>
                <c:pt idx="144">
                  <c:v>13.09.21</c:v>
                </c:pt>
                <c:pt idx="145">
                  <c:v>14.09.21</c:v>
                </c:pt>
                <c:pt idx="146">
                  <c:v>15.09.21</c:v>
                </c:pt>
                <c:pt idx="147">
                  <c:v>16.09.21</c:v>
                </c:pt>
                <c:pt idx="148">
                  <c:v>17.09.21</c:v>
                </c:pt>
                <c:pt idx="149">
                  <c:v>18.09.21</c:v>
                </c:pt>
                <c:pt idx="150">
                  <c:v>19.09.21</c:v>
                </c:pt>
                <c:pt idx="151">
                  <c:v>20.09.21</c:v>
                </c:pt>
                <c:pt idx="152">
                  <c:v>21.09.21</c:v>
                </c:pt>
                <c:pt idx="153">
                  <c:v>22.09.21</c:v>
                </c:pt>
                <c:pt idx="154">
                  <c:v>23.09.21</c:v>
                </c:pt>
                <c:pt idx="155">
                  <c:v>24.09.21</c:v>
                </c:pt>
                <c:pt idx="156">
                  <c:v>25.09.21</c:v>
                </c:pt>
                <c:pt idx="157">
                  <c:v>26.09.21</c:v>
                </c:pt>
                <c:pt idx="158">
                  <c:v>27.09.21</c:v>
                </c:pt>
                <c:pt idx="159">
                  <c:v>28.09.21</c:v>
                </c:pt>
                <c:pt idx="160">
                  <c:v>29.09.21</c:v>
                </c:pt>
                <c:pt idx="161">
                  <c:v>30.09.21</c:v>
                </c:pt>
                <c:pt idx="162">
                  <c:v>01.10.21</c:v>
                </c:pt>
                <c:pt idx="163">
                  <c:v>02.10.21</c:v>
                </c:pt>
                <c:pt idx="164">
                  <c:v>03.10.21</c:v>
                </c:pt>
                <c:pt idx="165">
                  <c:v>04.10.21</c:v>
                </c:pt>
                <c:pt idx="166">
                  <c:v>05.10.21</c:v>
                </c:pt>
                <c:pt idx="167">
                  <c:v>06.10.21</c:v>
                </c:pt>
                <c:pt idx="168">
                  <c:v>07.10.21</c:v>
                </c:pt>
                <c:pt idx="169">
                  <c:v>08.10.21</c:v>
                </c:pt>
                <c:pt idx="170">
                  <c:v>09.10.21</c:v>
                </c:pt>
                <c:pt idx="171">
                  <c:v>10.10.21</c:v>
                </c:pt>
                <c:pt idx="172">
                  <c:v>11.10.21</c:v>
                </c:pt>
                <c:pt idx="173">
                  <c:v>12.10.21</c:v>
                </c:pt>
                <c:pt idx="174">
                  <c:v>13.10.21</c:v>
                </c:pt>
                <c:pt idx="175">
                  <c:v>14.10.21</c:v>
                </c:pt>
                <c:pt idx="176">
                  <c:v>15.10.21</c:v>
                </c:pt>
                <c:pt idx="177">
                  <c:v>16.10.21</c:v>
                </c:pt>
                <c:pt idx="178">
                  <c:v>17.10.21</c:v>
                </c:pt>
                <c:pt idx="179">
                  <c:v>18.10.21</c:v>
                </c:pt>
                <c:pt idx="180">
                  <c:v>19.10.21</c:v>
                </c:pt>
                <c:pt idx="181">
                  <c:v>20.10.21</c:v>
                </c:pt>
                <c:pt idx="182">
                  <c:v>21.10.21</c:v>
                </c:pt>
              </c:strCache>
            </c:strRef>
          </c:cat>
          <c:val>
            <c:numRef>
              <c:f>List1!$B$4:$GB$4</c:f>
              <c:numCache>
                <c:formatCode>General</c:formatCode>
                <c:ptCount val="183"/>
                <c:pt idx="0">
                  <c:v>291</c:v>
                </c:pt>
                <c:pt idx="1">
                  <c:v>269</c:v>
                </c:pt>
                <c:pt idx="2">
                  <c:v>264</c:v>
                </c:pt>
                <c:pt idx="3">
                  <c:v>260</c:v>
                </c:pt>
                <c:pt idx="4">
                  <c:v>243</c:v>
                </c:pt>
                <c:pt idx="5">
                  <c:v>228</c:v>
                </c:pt>
                <c:pt idx="6">
                  <c:v>220</c:v>
                </c:pt>
                <c:pt idx="7">
                  <c:v>225</c:v>
                </c:pt>
                <c:pt idx="8">
                  <c:v>223</c:v>
                </c:pt>
                <c:pt idx="9">
                  <c:v>221</c:v>
                </c:pt>
                <c:pt idx="10">
                  <c:v>220</c:v>
                </c:pt>
                <c:pt idx="11">
                  <c:v>202</c:v>
                </c:pt>
                <c:pt idx="12">
                  <c:v>192</c:v>
                </c:pt>
                <c:pt idx="13">
                  <c:v>180</c:v>
                </c:pt>
                <c:pt idx="14">
                  <c:v>181</c:v>
                </c:pt>
                <c:pt idx="15">
                  <c:v>182</c:v>
                </c:pt>
                <c:pt idx="16">
                  <c:v>183</c:v>
                </c:pt>
                <c:pt idx="17">
                  <c:v>180</c:v>
                </c:pt>
                <c:pt idx="18">
                  <c:v>165</c:v>
                </c:pt>
                <c:pt idx="19">
                  <c:v>166</c:v>
                </c:pt>
                <c:pt idx="20">
                  <c:v>161</c:v>
                </c:pt>
                <c:pt idx="21">
                  <c:v>149</c:v>
                </c:pt>
                <c:pt idx="22">
                  <c:v>139</c:v>
                </c:pt>
                <c:pt idx="23">
                  <c:v>141</c:v>
                </c:pt>
                <c:pt idx="24">
                  <c:v>141</c:v>
                </c:pt>
                <c:pt idx="25">
                  <c:v>130</c:v>
                </c:pt>
                <c:pt idx="26">
                  <c:v>121</c:v>
                </c:pt>
                <c:pt idx="27">
                  <c:v>110</c:v>
                </c:pt>
                <c:pt idx="28">
                  <c:v>104</c:v>
                </c:pt>
                <c:pt idx="29">
                  <c:v>94</c:v>
                </c:pt>
                <c:pt idx="30">
                  <c:v>93</c:v>
                </c:pt>
                <c:pt idx="31">
                  <c:v>91</c:v>
                </c:pt>
                <c:pt idx="32">
                  <c:v>83</c:v>
                </c:pt>
                <c:pt idx="33">
                  <c:v>69</c:v>
                </c:pt>
                <c:pt idx="34">
                  <c:v>63</c:v>
                </c:pt>
                <c:pt idx="35">
                  <c:v>54</c:v>
                </c:pt>
                <c:pt idx="36">
                  <c:v>45</c:v>
                </c:pt>
                <c:pt idx="37">
                  <c:v>44</c:v>
                </c:pt>
                <c:pt idx="38">
                  <c:v>44</c:v>
                </c:pt>
                <c:pt idx="39">
                  <c:v>38</c:v>
                </c:pt>
                <c:pt idx="40">
                  <c:v>33</c:v>
                </c:pt>
                <c:pt idx="41">
                  <c:v>28</c:v>
                </c:pt>
                <c:pt idx="42">
                  <c:v>26</c:v>
                </c:pt>
                <c:pt idx="43">
                  <c:v>22</c:v>
                </c:pt>
                <c:pt idx="44">
                  <c:v>23</c:v>
                </c:pt>
                <c:pt idx="45">
                  <c:v>22</c:v>
                </c:pt>
                <c:pt idx="46">
                  <c:v>19</c:v>
                </c:pt>
                <c:pt idx="47">
                  <c:v>17</c:v>
                </c:pt>
                <c:pt idx="48">
                  <c:v>16</c:v>
                </c:pt>
                <c:pt idx="49">
                  <c:v>15</c:v>
                </c:pt>
                <c:pt idx="50">
                  <c:v>13</c:v>
                </c:pt>
                <c:pt idx="51">
                  <c:v>13</c:v>
                </c:pt>
                <c:pt idx="52">
                  <c:v>13</c:v>
                </c:pt>
                <c:pt idx="53">
                  <c:v>10</c:v>
                </c:pt>
                <c:pt idx="54">
                  <c:v>9</c:v>
                </c:pt>
                <c:pt idx="55">
                  <c:v>10</c:v>
                </c:pt>
                <c:pt idx="56">
                  <c:v>11</c:v>
                </c:pt>
                <c:pt idx="57">
                  <c:v>11</c:v>
                </c:pt>
                <c:pt idx="58">
                  <c:v>9</c:v>
                </c:pt>
                <c:pt idx="59">
                  <c:v>10</c:v>
                </c:pt>
                <c:pt idx="60">
                  <c:v>9</c:v>
                </c:pt>
                <c:pt idx="61">
                  <c:v>7</c:v>
                </c:pt>
                <c:pt idx="62">
                  <c:v>9</c:v>
                </c:pt>
                <c:pt idx="63">
                  <c:v>10</c:v>
                </c:pt>
                <c:pt idx="64">
                  <c:v>9</c:v>
                </c:pt>
                <c:pt idx="65">
                  <c:v>10</c:v>
                </c:pt>
                <c:pt idx="66">
                  <c:v>12</c:v>
                </c:pt>
                <c:pt idx="67">
                  <c:v>12</c:v>
                </c:pt>
                <c:pt idx="68">
                  <c:v>13</c:v>
                </c:pt>
                <c:pt idx="69">
                  <c:v>13</c:v>
                </c:pt>
                <c:pt idx="70">
                  <c:v>12</c:v>
                </c:pt>
                <c:pt idx="71">
                  <c:v>13</c:v>
                </c:pt>
                <c:pt idx="72">
                  <c:v>11</c:v>
                </c:pt>
                <c:pt idx="73">
                  <c:v>11</c:v>
                </c:pt>
                <c:pt idx="74">
                  <c:v>11</c:v>
                </c:pt>
                <c:pt idx="75">
                  <c:v>11</c:v>
                </c:pt>
                <c:pt idx="76">
                  <c:v>11</c:v>
                </c:pt>
                <c:pt idx="77">
                  <c:v>15</c:v>
                </c:pt>
                <c:pt idx="78">
                  <c:v>18</c:v>
                </c:pt>
                <c:pt idx="79">
                  <c:v>17</c:v>
                </c:pt>
                <c:pt idx="80">
                  <c:v>16</c:v>
                </c:pt>
                <c:pt idx="81">
                  <c:v>18</c:v>
                </c:pt>
                <c:pt idx="82">
                  <c:v>18</c:v>
                </c:pt>
                <c:pt idx="83">
                  <c:v>22</c:v>
                </c:pt>
                <c:pt idx="84">
                  <c:v>24</c:v>
                </c:pt>
                <c:pt idx="85">
                  <c:v>28</c:v>
                </c:pt>
                <c:pt idx="86">
                  <c:v>29</c:v>
                </c:pt>
                <c:pt idx="87">
                  <c:v>30</c:v>
                </c:pt>
                <c:pt idx="88">
                  <c:v>32</c:v>
                </c:pt>
                <c:pt idx="89">
                  <c:v>37</c:v>
                </c:pt>
                <c:pt idx="90">
                  <c:v>36</c:v>
                </c:pt>
                <c:pt idx="91">
                  <c:v>35</c:v>
                </c:pt>
                <c:pt idx="92">
                  <c:v>34</c:v>
                </c:pt>
                <c:pt idx="93">
                  <c:v>34</c:v>
                </c:pt>
                <c:pt idx="94">
                  <c:v>34</c:v>
                </c:pt>
                <c:pt idx="95">
                  <c:v>35</c:v>
                </c:pt>
                <c:pt idx="96">
                  <c:v>39</c:v>
                </c:pt>
                <c:pt idx="97">
                  <c:v>36</c:v>
                </c:pt>
                <c:pt idx="98">
                  <c:v>35</c:v>
                </c:pt>
                <c:pt idx="99">
                  <c:v>33</c:v>
                </c:pt>
                <c:pt idx="100">
                  <c:v>33</c:v>
                </c:pt>
                <c:pt idx="101">
                  <c:v>31</c:v>
                </c:pt>
                <c:pt idx="102">
                  <c:v>29</c:v>
                </c:pt>
                <c:pt idx="103">
                  <c:v>31</c:v>
                </c:pt>
                <c:pt idx="104">
                  <c:v>33</c:v>
                </c:pt>
                <c:pt idx="105">
                  <c:v>29</c:v>
                </c:pt>
                <c:pt idx="106">
                  <c:v>30</c:v>
                </c:pt>
                <c:pt idx="107">
                  <c:v>30</c:v>
                </c:pt>
                <c:pt idx="108">
                  <c:v>28</c:v>
                </c:pt>
                <c:pt idx="109">
                  <c:v>30</c:v>
                </c:pt>
                <c:pt idx="110">
                  <c:v>28</c:v>
                </c:pt>
                <c:pt idx="111">
                  <c:v>28</c:v>
                </c:pt>
                <c:pt idx="112">
                  <c:v>27</c:v>
                </c:pt>
                <c:pt idx="113">
                  <c:v>32</c:v>
                </c:pt>
                <c:pt idx="114">
                  <c:v>33</c:v>
                </c:pt>
                <c:pt idx="115">
                  <c:v>33</c:v>
                </c:pt>
                <c:pt idx="116">
                  <c:v>31</c:v>
                </c:pt>
                <c:pt idx="117">
                  <c:v>28</c:v>
                </c:pt>
                <c:pt idx="118">
                  <c:v>27</c:v>
                </c:pt>
                <c:pt idx="119">
                  <c:v>25</c:v>
                </c:pt>
                <c:pt idx="120">
                  <c:v>27</c:v>
                </c:pt>
                <c:pt idx="121">
                  <c:v>27</c:v>
                </c:pt>
                <c:pt idx="122">
                  <c:v>28</c:v>
                </c:pt>
                <c:pt idx="123">
                  <c:v>25</c:v>
                </c:pt>
                <c:pt idx="124">
                  <c:v>26</c:v>
                </c:pt>
                <c:pt idx="125">
                  <c:v>30</c:v>
                </c:pt>
                <c:pt idx="126">
                  <c:v>28</c:v>
                </c:pt>
                <c:pt idx="127">
                  <c:v>27</c:v>
                </c:pt>
                <c:pt idx="128">
                  <c:v>25</c:v>
                </c:pt>
                <c:pt idx="129">
                  <c:v>26</c:v>
                </c:pt>
                <c:pt idx="130">
                  <c:v>24</c:v>
                </c:pt>
                <c:pt idx="131">
                  <c:v>25</c:v>
                </c:pt>
                <c:pt idx="132">
                  <c:v>28</c:v>
                </c:pt>
                <c:pt idx="133">
                  <c:v>32</c:v>
                </c:pt>
                <c:pt idx="134">
                  <c:v>34</c:v>
                </c:pt>
                <c:pt idx="135">
                  <c:v>38</c:v>
                </c:pt>
                <c:pt idx="136">
                  <c:v>37</c:v>
                </c:pt>
                <c:pt idx="137">
                  <c:v>42</c:v>
                </c:pt>
                <c:pt idx="138">
                  <c:v>44</c:v>
                </c:pt>
                <c:pt idx="139">
                  <c:v>41</c:v>
                </c:pt>
                <c:pt idx="140">
                  <c:v>40</c:v>
                </c:pt>
                <c:pt idx="141">
                  <c:v>42</c:v>
                </c:pt>
                <c:pt idx="142">
                  <c:v>41</c:v>
                </c:pt>
                <c:pt idx="143">
                  <c:v>44</c:v>
                </c:pt>
                <c:pt idx="144">
                  <c:v>45</c:v>
                </c:pt>
                <c:pt idx="145">
                  <c:v>44</c:v>
                </c:pt>
                <c:pt idx="146">
                  <c:v>48</c:v>
                </c:pt>
                <c:pt idx="147">
                  <c:v>51</c:v>
                </c:pt>
                <c:pt idx="148">
                  <c:v>49</c:v>
                </c:pt>
                <c:pt idx="149">
                  <c:v>48</c:v>
                </c:pt>
                <c:pt idx="150">
                  <c:v>51</c:v>
                </c:pt>
                <c:pt idx="151">
                  <c:v>51</c:v>
                </c:pt>
                <c:pt idx="152">
                  <c:v>58</c:v>
                </c:pt>
                <c:pt idx="153">
                  <c:v>65</c:v>
                </c:pt>
                <c:pt idx="154">
                  <c:v>67</c:v>
                </c:pt>
                <c:pt idx="155">
                  <c:v>70</c:v>
                </c:pt>
                <c:pt idx="156">
                  <c:v>73</c:v>
                </c:pt>
                <c:pt idx="157">
                  <c:v>72</c:v>
                </c:pt>
                <c:pt idx="158">
                  <c:v>75</c:v>
                </c:pt>
                <c:pt idx="159">
                  <c:v>80</c:v>
                </c:pt>
                <c:pt idx="160">
                  <c:v>80</c:v>
                </c:pt>
                <c:pt idx="161">
                  <c:v>85</c:v>
                </c:pt>
                <c:pt idx="162">
                  <c:v>88</c:v>
                </c:pt>
                <c:pt idx="163">
                  <c:v>90</c:v>
                </c:pt>
                <c:pt idx="164">
                  <c:v>92</c:v>
                </c:pt>
                <c:pt idx="165">
                  <c:v>92</c:v>
                </c:pt>
                <c:pt idx="166">
                  <c:v>94</c:v>
                </c:pt>
                <c:pt idx="167">
                  <c:v>103</c:v>
                </c:pt>
                <c:pt idx="168">
                  <c:v>109</c:v>
                </c:pt>
                <c:pt idx="169">
                  <c:v>115</c:v>
                </c:pt>
                <c:pt idx="170">
                  <c:v>121</c:v>
                </c:pt>
                <c:pt idx="171">
                  <c:v>123</c:v>
                </c:pt>
                <c:pt idx="172">
                  <c:v>132</c:v>
                </c:pt>
                <c:pt idx="173">
                  <c:v>161</c:v>
                </c:pt>
                <c:pt idx="174">
                  <c:v>168</c:v>
                </c:pt>
                <c:pt idx="175">
                  <c:v>176</c:v>
                </c:pt>
                <c:pt idx="176">
                  <c:v>179</c:v>
                </c:pt>
                <c:pt idx="177">
                  <c:v>185</c:v>
                </c:pt>
                <c:pt idx="178">
                  <c:v>197</c:v>
                </c:pt>
                <c:pt idx="179">
                  <c:v>235</c:v>
                </c:pt>
                <c:pt idx="180">
                  <c:v>285</c:v>
                </c:pt>
                <c:pt idx="181">
                  <c:v>328</c:v>
                </c:pt>
                <c:pt idx="182">
                  <c:v>36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37CD-4BA3-857E-B86804E5EE0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04314152"/>
        <c:axId val="604312192"/>
      </c:lineChart>
      <c:catAx>
        <c:axId val="604314152"/>
        <c:scaling>
          <c:orientation val="minMax"/>
        </c:scaling>
        <c:delete val="0"/>
        <c:axPos val="b"/>
        <c:numFmt formatCode="dd/mm/yy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604312192"/>
        <c:crosses val="autoZero"/>
        <c:auto val="1"/>
        <c:lblAlgn val="ctr"/>
        <c:lblOffset val="100"/>
        <c:tickLblSkip val="7"/>
        <c:noMultiLvlLbl val="0"/>
      </c:catAx>
      <c:valAx>
        <c:axId val="604312192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6043141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</a:defRPr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5105486733009034"/>
          <c:y val="6.7225186576531884E-2"/>
          <c:w val="0.60212445764572553"/>
          <c:h val="0.9054811758888358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%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Plzeňský kraj</c:v>
                </c:pt>
                <c:pt idx="1">
                  <c:v>Kraj Vysočina</c:v>
                </c:pt>
                <c:pt idx="2">
                  <c:v>Liberecký kraj</c:v>
                </c:pt>
                <c:pt idx="3">
                  <c:v>Královéhradecký kraj</c:v>
                </c:pt>
                <c:pt idx="4">
                  <c:v>Středočeský kraj</c:v>
                </c:pt>
                <c:pt idx="5">
                  <c:v>Hlavní město Praha</c:v>
                </c:pt>
                <c:pt idx="6">
                  <c:v>Ústecký kraj</c:v>
                </c:pt>
                <c:pt idx="7">
                  <c:v>Pardubický kraj</c:v>
                </c:pt>
                <c:pt idx="8">
                  <c:v>Jihočeský kraj</c:v>
                </c:pt>
                <c:pt idx="9">
                  <c:v>ČR</c:v>
                </c:pt>
                <c:pt idx="10">
                  <c:v>Olomoucký kraj</c:v>
                </c:pt>
                <c:pt idx="11">
                  <c:v>Jihomoravský kraj</c:v>
                </c:pt>
                <c:pt idx="12">
                  <c:v>Karlovarský kraj</c:v>
                </c:pt>
                <c:pt idx="13">
                  <c:v>Zlínský kraj</c:v>
                </c:pt>
                <c:pt idx="14">
                  <c:v>Moravskoslezs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91.467389999999995</c:v>
                </c:pt>
                <c:pt idx="1">
                  <c:v>88.356160000000003</c:v>
                </c:pt>
                <c:pt idx="2">
                  <c:v>88.161010000000005</c:v>
                </c:pt>
                <c:pt idx="3">
                  <c:v>88.061220000000006</c:v>
                </c:pt>
                <c:pt idx="4">
                  <c:v>87.980909999999994</c:v>
                </c:pt>
                <c:pt idx="5">
                  <c:v>87.83784</c:v>
                </c:pt>
                <c:pt idx="6">
                  <c:v>87.5</c:v>
                </c:pt>
                <c:pt idx="7">
                  <c:v>87.246809999999996</c:v>
                </c:pt>
                <c:pt idx="8">
                  <c:v>86.532809999999998</c:v>
                </c:pt>
                <c:pt idx="9">
                  <c:v>86.061459999999997</c:v>
                </c:pt>
                <c:pt idx="10">
                  <c:v>85.321100000000001</c:v>
                </c:pt>
                <c:pt idx="11">
                  <c:v>83.743170000000006</c:v>
                </c:pt>
                <c:pt idx="12">
                  <c:v>82.8125</c:v>
                </c:pt>
                <c:pt idx="13">
                  <c:v>82.044560000000004</c:v>
                </c:pt>
                <c:pt idx="14">
                  <c:v>81.53649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A38-498E-AF17-8F5778D625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83764288"/>
        <c:axId val="50879584"/>
      </c:barChart>
      <c:catAx>
        <c:axId val="383764288"/>
        <c:scaling>
          <c:orientation val="maxMin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0879584"/>
        <c:crosses val="autoZero"/>
        <c:auto val="1"/>
        <c:lblAlgn val="ctr"/>
        <c:lblOffset val="100"/>
        <c:noMultiLvlLbl val="0"/>
      </c:catAx>
      <c:valAx>
        <c:axId val="50879584"/>
        <c:scaling>
          <c:orientation val="minMax"/>
          <c:min val="0"/>
        </c:scaling>
        <c:delete val="0"/>
        <c:axPos val="t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837642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5105486733009034"/>
          <c:y val="6.7225186576531884E-2"/>
          <c:w val="0.60212445764572553"/>
          <c:h val="0.9054811758888358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%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Ústecký kraj</c:v>
                </c:pt>
                <c:pt idx="1">
                  <c:v>Plzeňský kraj</c:v>
                </c:pt>
                <c:pt idx="2">
                  <c:v>Kraj Vysočina</c:v>
                </c:pt>
                <c:pt idx="3">
                  <c:v>Středočeský kraj</c:v>
                </c:pt>
                <c:pt idx="4">
                  <c:v>Hlavní město Praha</c:v>
                </c:pt>
                <c:pt idx="5">
                  <c:v>Královéhradecký kraj</c:v>
                </c:pt>
                <c:pt idx="6">
                  <c:v>Karlovarský kraj</c:v>
                </c:pt>
                <c:pt idx="7">
                  <c:v>Jihočeský kraj</c:v>
                </c:pt>
                <c:pt idx="8">
                  <c:v>ČR</c:v>
                </c:pt>
                <c:pt idx="9">
                  <c:v>Liberecký kraj</c:v>
                </c:pt>
                <c:pt idx="10">
                  <c:v>Jihomoravský kraj</c:v>
                </c:pt>
                <c:pt idx="11">
                  <c:v>Pardubický kraj</c:v>
                </c:pt>
                <c:pt idx="12">
                  <c:v>Moravskoslezský kraj</c:v>
                </c:pt>
                <c:pt idx="13">
                  <c:v>Zlínský kraj</c:v>
                </c:pt>
                <c:pt idx="14">
                  <c:v>Olomouc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84.018879999999996</c:v>
                </c:pt>
                <c:pt idx="1">
                  <c:v>83.197299999999998</c:v>
                </c:pt>
                <c:pt idx="2">
                  <c:v>83.066360000000003</c:v>
                </c:pt>
                <c:pt idx="3">
                  <c:v>82.97681</c:v>
                </c:pt>
                <c:pt idx="4">
                  <c:v>82.826139999999995</c:v>
                </c:pt>
                <c:pt idx="5">
                  <c:v>81.681759999999997</c:v>
                </c:pt>
                <c:pt idx="6">
                  <c:v>79.86063</c:v>
                </c:pt>
                <c:pt idx="7">
                  <c:v>79.308520000000001</c:v>
                </c:pt>
                <c:pt idx="8">
                  <c:v>78.935079999999999</c:v>
                </c:pt>
                <c:pt idx="9">
                  <c:v>78.215689999999995</c:v>
                </c:pt>
                <c:pt idx="10">
                  <c:v>77.557869999999994</c:v>
                </c:pt>
                <c:pt idx="11">
                  <c:v>75.812929999999994</c:v>
                </c:pt>
                <c:pt idx="12">
                  <c:v>72.763210000000001</c:v>
                </c:pt>
                <c:pt idx="13">
                  <c:v>72.055769999999995</c:v>
                </c:pt>
                <c:pt idx="14">
                  <c:v>71.12708999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F40-47DE-ACA1-8E4053576F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83764288"/>
        <c:axId val="50879584"/>
      </c:barChart>
      <c:catAx>
        <c:axId val="383764288"/>
        <c:scaling>
          <c:orientation val="maxMin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0879584"/>
        <c:crosses val="autoZero"/>
        <c:auto val="1"/>
        <c:lblAlgn val="ctr"/>
        <c:lblOffset val="100"/>
        <c:noMultiLvlLbl val="0"/>
      </c:catAx>
      <c:valAx>
        <c:axId val="50879584"/>
        <c:scaling>
          <c:orientation val="minMax"/>
          <c:max val="100"/>
        </c:scaling>
        <c:delete val="0"/>
        <c:axPos val="t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837642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51120061166082842"/>
          <c:y val="6.3054247171625041E-2"/>
          <c:w val="0.45963458745004687"/>
          <c:h val="0.9171773225713224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ostatní ZP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36</c:f>
              <c:strCache>
                <c:ptCount val="35"/>
                <c:pt idx="0">
                  <c:v>§ 42 Sanitář</c:v>
                </c:pt>
                <c:pt idx="1">
                  <c:v>§ 24 Fyzioterapeut</c:v>
                </c:pt>
                <c:pt idx="2">
                  <c:v>farmaceut</c:v>
                </c:pt>
                <c:pt idx="3">
                  <c:v>§ 19 Farmaceutický asistent</c:v>
                </c:pt>
                <c:pt idx="4">
                  <c:v>§ 9 Zdravotní laborant</c:v>
                </c:pt>
                <c:pt idx="5">
                  <c:v>§ 36 Ošetřovatel</c:v>
                </c:pt>
                <c:pt idx="6">
                  <c:v>§ 18 Zdravotnický záchranář</c:v>
                </c:pt>
                <c:pt idx="7">
                  <c:v>§ 39 Zubní instrumentářka</c:v>
                </c:pt>
                <c:pt idx="8">
                  <c:v>§ 8 Radiologický asistent</c:v>
                </c:pt>
                <c:pt idx="9">
                  <c:v>§ 16 Zubní technik</c:v>
                </c:pt>
                <c:pt idx="10">
                  <c:v>§ 26 Odborný pracovník v laboratorních metodách a v přípravě léčivých přípravků</c:v>
                </c:pt>
                <c:pt idx="11">
                  <c:v>§ 40 Řidič zdravotnické dopravní služby</c:v>
                </c:pt>
                <c:pt idx="12">
                  <c:v>§ 35 Řidič vozidla zdravotnické záchranné služby</c:v>
                </c:pt>
                <c:pt idx="13">
                  <c:v>§ 17 Dentální hygienistka</c:v>
                </c:pt>
                <c:pt idx="14">
                  <c:v>§ 37 Masér ve zdravotnictví, nevidomý a slabozraký masér ve zdravotnictví</c:v>
                </c:pt>
                <c:pt idx="15">
                  <c:v>§ 22 Psycholog ve zdravotnictví</c:v>
                </c:pt>
                <c:pt idx="16">
                  <c:v>§ 11 Optometrista</c:v>
                </c:pt>
                <c:pt idx="17">
                  <c:v>§ 10 Zdravotně-sociální pracovník</c:v>
                </c:pt>
                <c:pt idx="18">
                  <c:v>§ 15 Nutriční terapeut</c:v>
                </c:pt>
                <c:pt idx="19">
                  <c:v>§ 7 Ergoterapeut</c:v>
                </c:pt>
                <c:pt idx="20">
                  <c:v>§ 30 Laboratorní asistent</c:v>
                </c:pt>
                <c:pt idx="21">
                  <c:v>§ 23 Logoped ve zdravotnictví</c:v>
                </c:pt>
                <c:pt idx="22">
                  <c:v>§ 27 Biomedicínský inženýr</c:v>
                </c:pt>
                <c:pt idx="23">
                  <c:v>§ 33 Asistent zubního technika</c:v>
                </c:pt>
                <c:pt idx="24">
                  <c:v>§ 28 Odborný pracovník v ochraně a podpoře veřejného zdraví</c:v>
                </c:pt>
                <c:pt idx="25">
                  <c:v>§ 21a Adiktolog</c:v>
                </c:pt>
                <c:pt idx="26">
                  <c:v>§ 13 Asistent ochrany a podpory veřejného zdraví</c:v>
                </c:pt>
                <c:pt idx="27">
                  <c:v>§ 14 Ortotik-protetik</c:v>
                </c:pt>
                <c:pt idx="28">
                  <c:v>§ 20 Biomedicínský technik</c:v>
                </c:pt>
                <c:pt idx="29">
                  <c:v>§ 25 Radiologický fyzik</c:v>
                </c:pt>
                <c:pt idx="30">
                  <c:v>§ 31 Ortoticko-protetický technik</c:v>
                </c:pt>
                <c:pt idx="31">
                  <c:v>§ 32 Nutriční asistent</c:v>
                </c:pt>
                <c:pt idx="32">
                  <c:v>§ 12 Ortoptista</c:v>
                </c:pt>
                <c:pt idx="33">
                  <c:v>§ 41 Autoptický laborant</c:v>
                </c:pt>
                <c:pt idx="34">
                  <c:v>§ 21 Radiologický technik</c:v>
                </c:pt>
              </c:strCache>
            </c:strRef>
          </c:cat>
          <c:val>
            <c:numRef>
              <c:f>List1!$B$2:$B$36</c:f>
              <c:numCache>
                <c:formatCode>General</c:formatCode>
                <c:ptCount val="35"/>
                <c:pt idx="0">
                  <c:v>2377</c:v>
                </c:pt>
                <c:pt idx="1">
                  <c:v>950</c:v>
                </c:pt>
                <c:pt idx="2">
                  <c:v>790</c:v>
                </c:pt>
                <c:pt idx="3">
                  <c:v>670</c:v>
                </c:pt>
                <c:pt idx="4">
                  <c:v>662</c:v>
                </c:pt>
                <c:pt idx="5">
                  <c:v>548</c:v>
                </c:pt>
                <c:pt idx="6">
                  <c:v>377</c:v>
                </c:pt>
                <c:pt idx="7">
                  <c:v>361</c:v>
                </c:pt>
                <c:pt idx="8">
                  <c:v>306</c:v>
                </c:pt>
                <c:pt idx="9">
                  <c:v>272</c:v>
                </c:pt>
                <c:pt idx="10">
                  <c:v>237</c:v>
                </c:pt>
                <c:pt idx="11">
                  <c:v>229</c:v>
                </c:pt>
                <c:pt idx="12">
                  <c:v>180</c:v>
                </c:pt>
                <c:pt idx="13">
                  <c:v>132</c:v>
                </c:pt>
                <c:pt idx="14">
                  <c:v>116</c:v>
                </c:pt>
                <c:pt idx="15">
                  <c:v>111</c:v>
                </c:pt>
                <c:pt idx="16">
                  <c:v>87</c:v>
                </c:pt>
                <c:pt idx="17">
                  <c:v>84</c:v>
                </c:pt>
                <c:pt idx="18">
                  <c:v>84</c:v>
                </c:pt>
                <c:pt idx="19">
                  <c:v>75</c:v>
                </c:pt>
                <c:pt idx="20">
                  <c:v>68</c:v>
                </c:pt>
                <c:pt idx="21">
                  <c:v>56</c:v>
                </c:pt>
                <c:pt idx="22">
                  <c:v>36</c:v>
                </c:pt>
                <c:pt idx="23">
                  <c:v>22</c:v>
                </c:pt>
                <c:pt idx="24">
                  <c:v>20</c:v>
                </c:pt>
                <c:pt idx="25">
                  <c:v>18</c:v>
                </c:pt>
                <c:pt idx="26">
                  <c:v>13</c:v>
                </c:pt>
                <c:pt idx="27">
                  <c:v>13</c:v>
                </c:pt>
                <c:pt idx="28">
                  <c:v>9</c:v>
                </c:pt>
                <c:pt idx="29">
                  <c:v>7</c:v>
                </c:pt>
                <c:pt idx="30">
                  <c:v>7</c:v>
                </c:pt>
                <c:pt idx="31">
                  <c:v>5</c:v>
                </c:pt>
                <c:pt idx="32">
                  <c:v>4</c:v>
                </c:pt>
                <c:pt idx="33">
                  <c:v>2</c:v>
                </c:pt>
                <c:pt idx="34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EDC-4FEF-9A9E-83836E26FF1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320460415"/>
        <c:axId val="315793487"/>
      </c:barChart>
      <c:catAx>
        <c:axId val="320460415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15793487"/>
        <c:crosses val="autoZero"/>
        <c:auto val="1"/>
        <c:lblAlgn val="ctr"/>
        <c:lblOffset val="100"/>
        <c:tickLblSkip val="1"/>
        <c:noMultiLvlLbl val="0"/>
      </c:catAx>
      <c:valAx>
        <c:axId val="315793487"/>
        <c:scaling>
          <c:orientation val="minMax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20460415"/>
        <c:crosses val="autoZero"/>
        <c:crossBetween val="between"/>
        <c:majorUnit val="2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51120061166082842"/>
          <c:y val="6.3054247171625041E-2"/>
          <c:w val="0.45963458745004687"/>
          <c:h val="0.9171773225713224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ostatní ZP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31</c:f>
              <c:strCache>
                <c:ptCount val="30"/>
                <c:pt idx="0">
                  <c:v>§ 42 Sanitář</c:v>
                </c:pt>
                <c:pt idx="1">
                  <c:v>§ 9 Zdravotní laborant</c:v>
                </c:pt>
                <c:pt idx="2">
                  <c:v>§ 24 Fyzioterapeut</c:v>
                </c:pt>
                <c:pt idx="3">
                  <c:v>farmaceut</c:v>
                </c:pt>
                <c:pt idx="4">
                  <c:v>§ 36 Ošetřovatel</c:v>
                </c:pt>
                <c:pt idx="5">
                  <c:v>§ 39 Zubní instrumentářka</c:v>
                </c:pt>
                <c:pt idx="6">
                  <c:v>§ 18 Zdravotnický záchranář</c:v>
                </c:pt>
                <c:pt idx="7">
                  <c:v>§ 16 Zubní technik</c:v>
                </c:pt>
                <c:pt idx="8">
                  <c:v>§ 19 Farmaceutický asistent</c:v>
                </c:pt>
                <c:pt idx="9">
                  <c:v>§ 8 Radiologický asistent</c:v>
                </c:pt>
                <c:pt idx="10">
                  <c:v>§ 17 Dentální hygienistka</c:v>
                </c:pt>
                <c:pt idx="11">
                  <c:v>§ 26 Odborný pracovník v laboratorních metodách a v přípravě léčivých přípravků</c:v>
                </c:pt>
                <c:pt idx="12">
                  <c:v>§ 40 Řidič zdravotnické dopravní služby</c:v>
                </c:pt>
                <c:pt idx="13">
                  <c:v>§ 35 Řidič vozidla zdravotnické záchranné služby</c:v>
                </c:pt>
                <c:pt idx="14">
                  <c:v>§ 11 Optometrista</c:v>
                </c:pt>
                <c:pt idx="15">
                  <c:v>§ 7 Ergoterapeut</c:v>
                </c:pt>
                <c:pt idx="16">
                  <c:v>§ 22 Psycholog ve zdravotnictví</c:v>
                </c:pt>
                <c:pt idx="17">
                  <c:v>§ 23 Logoped ve zdravotnictví</c:v>
                </c:pt>
                <c:pt idx="18">
                  <c:v>§ 10 Zdravotně-sociální pracovník</c:v>
                </c:pt>
                <c:pt idx="19">
                  <c:v>§ 15 Nutriční terapeut</c:v>
                </c:pt>
                <c:pt idx="20">
                  <c:v>§ 30 Laboratorní asistent</c:v>
                </c:pt>
                <c:pt idx="21">
                  <c:v>§ 20 Biomedicínský technik</c:v>
                </c:pt>
                <c:pt idx="22">
                  <c:v>§ 28 Odborný pracovník v ochraně a podpoře veřejného zdraví</c:v>
                </c:pt>
                <c:pt idx="23">
                  <c:v>§ 14 Ortotik-protetik</c:v>
                </c:pt>
                <c:pt idx="24">
                  <c:v>§ 21a Adiktolog</c:v>
                </c:pt>
                <c:pt idx="25">
                  <c:v>§ 25 Radiologický fyzik</c:v>
                </c:pt>
                <c:pt idx="26">
                  <c:v>§ 27 Biomedicínský inženýr</c:v>
                </c:pt>
                <c:pt idx="27">
                  <c:v>§ 33 Asistent zubního technika</c:v>
                </c:pt>
                <c:pt idx="28">
                  <c:v>§ 37 Masér ve zdravotnictví, nevidomý a slabozraký masér ve zdravotnictví</c:v>
                </c:pt>
                <c:pt idx="29">
                  <c:v>§ 41 Autoptický laborant</c:v>
                </c:pt>
              </c:strCache>
            </c:strRef>
          </c:cat>
          <c:val>
            <c:numRef>
              <c:f>List1!$B$2:$B$31</c:f>
              <c:numCache>
                <c:formatCode>General</c:formatCode>
                <c:ptCount val="30"/>
                <c:pt idx="0">
                  <c:v>78</c:v>
                </c:pt>
                <c:pt idx="1">
                  <c:v>46</c:v>
                </c:pt>
                <c:pt idx="2">
                  <c:v>46</c:v>
                </c:pt>
                <c:pt idx="3">
                  <c:v>30</c:v>
                </c:pt>
                <c:pt idx="4">
                  <c:v>24</c:v>
                </c:pt>
                <c:pt idx="5">
                  <c:v>19</c:v>
                </c:pt>
                <c:pt idx="6">
                  <c:v>18</c:v>
                </c:pt>
                <c:pt idx="7">
                  <c:v>17</c:v>
                </c:pt>
                <c:pt idx="8">
                  <c:v>15</c:v>
                </c:pt>
                <c:pt idx="9">
                  <c:v>13</c:v>
                </c:pt>
                <c:pt idx="10">
                  <c:v>11</c:v>
                </c:pt>
                <c:pt idx="11">
                  <c:v>11</c:v>
                </c:pt>
                <c:pt idx="12">
                  <c:v>9</c:v>
                </c:pt>
                <c:pt idx="13">
                  <c:v>7</c:v>
                </c:pt>
                <c:pt idx="14">
                  <c:v>6</c:v>
                </c:pt>
                <c:pt idx="15">
                  <c:v>5</c:v>
                </c:pt>
                <c:pt idx="16">
                  <c:v>5</c:v>
                </c:pt>
                <c:pt idx="17">
                  <c:v>5</c:v>
                </c:pt>
                <c:pt idx="18">
                  <c:v>4</c:v>
                </c:pt>
                <c:pt idx="19">
                  <c:v>3</c:v>
                </c:pt>
                <c:pt idx="20">
                  <c:v>3</c:v>
                </c:pt>
                <c:pt idx="21">
                  <c:v>2</c:v>
                </c:pt>
                <c:pt idx="22">
                  <c:v>2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  <c:pt idx="28">
                  <c:v>1</c:v>
                </c:pt>
                <c:pt idx="29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EDC-4FEF-9A9E-83836E26FF1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320460415"/>
        <c:axId val="315793487"/>
      </c:barChart>
      <c:catAx>
        <c:axId val="320460415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15793487"/>
        <c:crosses val="autoZero"/>
        <c:auto val="1"/>
        <c:lblAlgn val="ctr"/>
        <c:lblOffset val="100"/>
        <c:tickLblSkip val="1"/>
        <c:noMultiLvlLbl val="0"/>
      </c:catAx>
      <c:valAx>
        <c:axId val="315793487"/>
        <c:scaling>
          <c:orientation val="minMax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2046041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24.10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1953481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1914962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7319544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6615066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500646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500646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3448913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955331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4368077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7572051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2389165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2830327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2893442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4888445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6661728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7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3330937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8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88844982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26409036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384152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6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tmp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039226"/>
            <a:ext cx="11487705" cy="5587305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11FBEFA6-3CC9-4A8B-98AB-811AE091489A}"/>
              </a:ext>
            </a:extLst>
          </p:cNvPr>
          <p:cNvSpPr/>
          <p:nvPr userDrawn="1"/>
        </p:nvSpPr>
        <p:spPr>
          <a:xfrm>
            <a:off x="1" y="1"/>
            <a:ext cx="12192000" cy="79066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20" name="Nadpis 1">
            <a:extLst>
              <a:ext uri="{FF2B5EF4-FFF2-40B4-BE49-F238E27FC236}">
                <a16:creationId xmlns:a16="http://schemas.microsoft.com/office/drawing/2014/main" id="{C2747F8C-F296-41AB-B6E6-650FFEA011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1"/>
            <a:ext cx="5396696" cy="790667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9928806D-A537-4323-B4ED-4983696D2AF8}"/>
              </a:ext>
            </a:extLst>
          </p:cNvPr>
          <p:cNvGrpSpPr/>
          <p:nvPr userDrawn="1"/>
        </p:nvGrpSpPr>
        <p:grpSpPr>
          <a:xfrm>
            <a:off x="5972087" y="107328"/>
            <a:ext cx="6026262" cy="737003"/>
            <a:chOff x="5972087" y="329946"/>
            <a:chExt cx="6026262" cy="73700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FB2B0A03-1219-4FC5-81C7-A43DCB123A0C}"/>
                </a:ext>
              </a:extLst>
            </p:cNvPr>
            <p:cNvGrpSpPr/>
            <p:nvPr userDrawn="1"/>
          </p:nvGrpSpPr>
          <p:grpSpPr>
            <a:xfrm>
              <a:off x="8116661" y="349032"/>
              <a:ext cx="3881688" cy="450808"/>
              <a:chOff x="8214317" y="349032"/>
              <a:chExt cx="3881688" cy="450808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2E921148-1008-412D-AB36-245237C3D6B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8214317" y="488933"/>
                <a:ext cx="2963998" cy="252000"/>
              </a:xfrm>
              <a:prstGeom prst="rect">
                <a:avLst/>
              </a:prstGeom>
            </p:spPr>
          </p:pic>
          <p:pic>
            <p:nvPicPr>
              <p:cNvPr id="28" name="Obrázek 27" descr="Obsah obrázku kreslení&#10;&#10;Popis byl vytvořen automaticky">
                <a:extLst>
                  <a:ext uri="{FF2B5EF4-FFF2-40B4-BE49-F238E27FC236}">
                    <a16:creationId xmlns:a16="http://schemas.microsoft.com/office/drawing/2014/main" id="{480755B3-A38B-4215-974C-50EA6F66494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1430075" y="349032"/>
                <a:ext cx="665930" cy="450808"/>
              </a:xfrm>
              <a:prstGeom prst="rect">
                <a:avLst/>
              </a:prstGeom>
            </p:spPr>
          </p:pic>
        </p:grpSp>
        <p:pic>
          <p:nvPicPr>
            <p:cNvPr id="23" name="Grafický objekt 22">
              <a:extLst>
                <a:ext uri="{FF2B5EF4-FFF2-40B4-BE49-F238E27FC236}">
                  <a16:creationId xmlns:a16="http://schemas.microsoft.com/office/drawing/2014/main" id="{1A14BE4F-72B2-49A1-B4A4-7983F7AE574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t="-1" b="-2685"/>
            <a:stretch/>
          </p:blipFill>
          <p:spPr>
            <a:xfrm>
              <a:off x="5972087" y="329946"/>
              <a:ext cx="1892814" cy="73700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6762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4" userDrawn="1">
          <p15:clr>
            <a:srgbClr val="FBAE40"/>
          </p15:clr>
        </p15:guide>
        <p15:guide id="2" pos="7582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bdélník 10">
            <a:extLst>
              <a:ext uri="{FF2B5EF4-FFF2-40B4-BE49-F238E27FC236}">
                <a16:creationId xmlns:a16="http://schemas.microsoft.com/office/drawing/2014/main" id="{DC58920C-B9EC-4A94-B9EB-451592F3EED9}"/>
              </a:ext>
            </a:extLst>
          </p:cNvPr>
          <p:cNvSpPr/>
          <p:nvPr userDrawn="1"/>
        </p:nvSpPr>
        <p:spPr>
          <a:xfrm>
            <a:off x="1" y="1"/>
            <a:ext cx="12192000" cy="79066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2" name="Nadpis 1">
            <a:extLst>
              <a:ext uri="{FF2B5EF4-FFF2-40B4-BE49-F238E27FC236}">
                <a16:creationId xmlns:a16="http://schemas.microsoft.com/office/drawing/2014/main" id="{A3C58891-14E6-4818-B969-C72F93F087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1"/>
            <a:ext cx="5396696" cy="790667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4B49FBB4-BF51-45C2-86CA-B4502DA62936}"/>
              </a:ext>
            </a:extLst>
          </p:cNvPr>
          <p:cNvGrpSpPr/>
          <p:nvPr userDrawn="1"/>
        </p:nvGrpSpPr>
        <p:grpSpPr>
          <a:xfrm>
            <a:off x="5972087" y="107328"/>
            <a:ext cx="6026262" cy="737003"/>
            <a:chOff x="5972087" y="329946"/>
            <a:chExt cx="6026262" cy="737003"/>
          </a:xfrm>
        </p:grpSpPr>
        <p:grpSp>
          <p:nvGrpSpPr>
            <p:cNvPr id="14" name="Skupina 13">
              <a:extLst>
                <a:ext uri="{FF2B5EF4-FFF2-40B4-BE49-F238E27FC236}">
                  <a16:creationId xmlns:a16="http://schemas.microsoft.com/office/drawing/2014/main" id="{1533BE81-CFEE-48A9-AF03-143EC513CB79}"/>
                </a:ext>
              </a:extLst>
            </p:cNvPr>
            <p:cNvGrpSpPr/>
            <p:nvPr userDrawn="1"/>
          </p:nvGrpSpPr>
          <p:grpSpPr>
            <a:xfrm>
              <a:off x="8116661" y="349032"/>
              <a:ext cx="3881688" cy="450808"/>
              <a:chOff x="8214317" y="349032"/>
              <a:chExt cx="3881688" cy="450808"/>
            </a:xfrm>
          </p:grpSpPr>
          <p:pic>
            <p:nvPicPr>
              <p:cNvPr id="17" name="Grafický objekt 16">
                <a:extLst>
                  <a:ext uri="{FF2B5EF4-FFF2-40B4-BE49-F238E27FC236}">
                    <a16:creationId xmlns:a16="http://schemas.microsoft.com/office/drawing/2014/main" id="{2BA1D09A-64DD-4910-BF60-CC7075472A8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8214317" y="488933"/>
                <a:ext cx="2963998" cy="252000"/>
              </a:xfrm>
              <a:prstGeom prst="rect">
                <a:avLst/>
              </a:prstGeom>
            </p:spPr>
          </p:pic>
          <p:pic>
            <p:nvPicPr>
              <p:cNvPr id="18" name="Obrázek 17" descr="Obsah obrázku kreslení&#10;&#10;Popis byl vytvořen automaticky">
                <a:extLst>
                  <a:ext uri="{FF2B5EF4-FFF2-40B4-BE49-F238E27FC236}">
                    <a16:creationId xmlns:a16="http://schemas.microsoft.com/office/drawing/2014/main" id="{3A04F306-61D6-499B-9F34-24714C7AFEA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1430075" y="349032"/>
                <a:ext cx="665930" cy="450808"/>
              </a:xfrm>
              <a:prstGeom prst="rect">
                <a:avLst/>
              </a:prstGeom>
            </p:spPr>
          </p:pic>
        </p:grpSp>
        <p:pic>
          <p:nvPicPr>
            <p:cNvPr id="15" name="Grafický objekt 14">
              <a:extLst>
                <a:ext uri="{FF2B5EF4-FFF2-40B4-BE49-F238E27FC236}">
                  <a16:creationId xmlns:a16="http://schemas.microsoft.com/office/drawing/2014/main" id="{62747C58-6152-448D-9270-C4FE61C51FC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t="-1" b="-2685"/>
            <a:stretch/>
          </p:blipFill>
          <p:spPr>
            <a:xfrm>
              <a:off x="5972087" y="329946"/>
              <a:ext cx="1892814" cy="73700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84137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aln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délník 7">
            <a:extLst>
              <a:ext uri="{FF2B5EF4-FFF2-40B4-BE49-F238E27FC236}">
                <a16:creationId xmlns:a16="http://schemas.microsoft.com/office/drawing/2014/main" id="{57251005-B581-4C6B-9623-FE7C9E672C61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9" name="Nadpis 1">
            <a:extLst>
              <a:ext uri="{FF2B5EF4-FFF2-40B4-BE49-F238E27FC236}">
                <a16:creationId xmlns:a16="http://schemas.microsoft.com/office/drawing/2014/main" id="{2ABA8342-40EF-4EF8-878F-E756BF1AAB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EC133C2D-E49B-4A76-8E4C-79637436790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102342" y="93094"/>
            <a:ext cx="4017507" cy="504000"/>
            <a:chOff x="5972087" y="329946"/>
            <a:chExt cx="6026262" cy="737003"/>
          </a:xfrm>
        </p:grpSpPr>
        <p:grpSp>
          <p:nvGrpSpPr>
            <p:cNvPr id="12" name="Skupina 11">
              <a:extLst>
                <a:ext uri="{FF2B5EF4-FFF2-40B4-BE49-F238E27FC236}">
                  <a16:creationId xmlns:a16="http://schemas.microsoft.com/office/drawing/2014/main" id="{7B0E7EF1-130B-4AF3-9B9B-F57B675459BE}"/>
                </a:ext>
              </a:extLst>
            </p:cNvPr>
            <p:cNvGrpSpPr/>
            <p:nvPr userDrawn="1"/>
          </p:nvGrpSpPr>
          <p:grpSpPr>
            <a:xfrm>
              <a:off x="8116661" y="331276"/>
              <a:ext cx="3881688" cy="450808"/>
              <a:chOff x="8214317" y="331276"/>
              <a:chExt cx="3881688" cy="450808"/>
            </a:xfrm>
          </p:grpSpPr>
          <p:pic>
            <p:nvPicPr>
              <p:cNvPr id="14" name="Grafický objekt 13">
                <a:extLst>
                  <a:ext uri="{FF2B5EF4-FFF2-40B4-BE49-F238E27FC236}">
                    <a16:creationId xmlns:a16="http://schemas.microsoft.com/office/drawing/2014/main" id="{5A70A0E6-773C-4F6E-853C-28A61AEF1D8E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8214317" y="471177"/>
                <a:ext cx="2963998" cy="252000"/>
              </a:xfrm>
              <a:prstGeom prst="rect">
                <a:avLst/>
              </a:prstGeom>
            </p:spPr>
          </p:pic>
          <p:pic>
            <p:nvPicPr>
              <p:cNvPr id="15" name="Obrázek 14" descr="Obsah obrázku kreslení&#10;&#10;Popis byl vytvořen automaticky">
                <a:extLst>
                  <a:ext uri="{FF2B5EF4-FFF2-40B4-BE49-F238E27FC236}">
                    <a16:creationId xmlns:a16="http://schemas.microsoft.com/office/drawing/2014/main" id="{7F95AEA6-4367-4B52-93A3-3068041EC41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1430075" y="331276"/>
                <a:ext cx="665930" cy="450808"/>
              </a:xfrm>
              <a:prstGeom prst="rect">
                <a:avLst/>
              </a:prstGeom>
            </p:spPr>
          </p:pic>
        </p:grpSp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ABAFA576-D9BF-4267-9BD2-2B78AD34E65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t="-1" b="-2685"/>
            <a:stretch/>
          </p:blipFill>
          <p:spPr>
            <a:xfrm>
              <a:off x="5972087" y="329946"/>
              <a:ext cx="1892814" cy="73700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054070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87789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683123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0520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63" r:id="rId3"/>
    <p:sldLayoutId id="2147483661" r:id="rId4"/>
    <p:sldLayoutId id="2147483665" r:id="rId5"/>
    <p:sldLayoutId id="2147483672" r:id="rId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Relationship Id="rId4" Type="http://schemas.openxmlformats.org/officeDocument/2006/relationships/chart" Target="../charts/chart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1"/>
          <p:cNvSpPr txBox="1">
            <a:spLocks/>
          </p:cNvSpPr>
          <p:nvPr/>
        </p:nvSpPr>
        <p:spPr>
          <a:xfrm>
            <a:off x="0" y="3900347"/>
            <a:ext cx="12192000" cy="153429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ouhrnný přehled stavu očkování: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zdravotničtí pracovníci </a:t>
            </a:r>
          </a:p>
        </p:txBody>
      </p:sp>
      <p:sp>
        <p:nvSpPr>
          <p:cNvPr id="5" name="Nadpis 1"/>
          <p:cNvSpPr txBox="1">
            <a:spLocks/>
          </p:cNvSpPr>
          <p:nvPr/>
        </p:nvSpPr>
        <p:spPr>
          <a:xfrm>
            <a:off x="73152" y="1801368"/>
            <a:ext cx="12192000" cy="169057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tav a vývoj epidemie COVID-19 </a:t>
            </a:r>
            <a:b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v dostupných datech</a:t>
            </a:r>
          </a:p>
        </p:txBody>
      </p:sp>
    </p:spTree>
    <p:extLst>
      <p:ext uri="{BB962C8B-B14F-4D97-AF65-F5344CB8AC3E}">
        <p14:creationId xmlns:p14="http://schemas.microsoft.com/office/powerpoint/2010/main" val="11904359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36DEA42F-EC1B-494C-8570-3D52D68EB646}"/>
              </a:ext>
            </a:extLst>
          </p:cNvPr>
          <p:cNvGraphicFramePr>
            <a:graphicFrameLocks noGrp="1"/>
          </p:cNvGraphicFramePr>
          <p:nvPr/>
        </p:nvGraphicFramePr>
        <p:xfrm>
          <a:off x="9286874" y="1999780"/>
          <a:ext cx="1848293" cy="3993135"/>
        </p:xfrm>
        <a:graphic>
          <a:graphicData uri="http://schemas.openxmlformats.org/drawingml/2006/table">
            <a:tbl>
              <a:tblPr/>
              <a:tblGrid>
                <a:gridCol w="1848293">
                  <a:extLst>
                    <a:ext uri="{9D8B030D-6E8A-4147-A177-3AD203B41FA5}">
                      <a16:colId xmlns:a16="http://schemas.microsoft.com/office/drawing/2014/main" val="1919720344"/>
                    </a:ext>
                  </a:extLst>
                </a:gridCol>
              </a:tblGrid>
              <a:tr h="266209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12351270"/>
                  </a:ext>
                </a:extLst>
              </a:tr>
              <a:tr h="266209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D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1113996"/>
                  </a:ext>
                </a:extLst>
              </a:tr>
              <a:tr h="266209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FC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8320480"/>
                  </a:ext>
                </a:extLst>
              </a:tr>
              <a:tr h="266209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9D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4084120"/>
                  </a:ext>
                </a:extLst>
              </a:tr>
              <a:tr h="266209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4165708"/>
                  </a:ext>
                </a:extLst>
              </a:tr>
              <a:tr h="266209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6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71754464"/>
                  </a:ext>
                </a:extLst>
              </a:tr>
              <a:tr h="266209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1413318"/>
                  </a:ext>
                </a:extLst>
              </a:tr>
              <a:tr h="266209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2136030"/>
                  </a:ext>
                </a:extLst>
              </a:tr>
              <a:tr h="266209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1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72471423"/>
                  </a:ext>
                </a:extLst>
              </a:tr>
              <a:tr h="266209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0535440"/>
                  </a:ext>
                </a:extLst>
              </a:tr>
              <a:tr h="266209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2A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24491447"/>
                  </a:ext>
                </a:extLst>
              </a:tr>
              <a:tr h="266209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D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11855760"/>
                  </a:ext>
                </a:extLst>
              </a:tr>
              <a:tr h="266209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7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0350064"/>
                  </a:ext>
                </a:extLst>
              </a:tr>
              <a:tr h="266209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3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763286"/>
                  </a:ext>
                </a:extLst>
              </a:tr>
              <a:tr h="266209"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45530187"/>
                  </a:ext>
                </a:extLst>
              </a:tr>
            </a:tbl>
          </a:graphicData>
        </a:graphic>
      </p:graphicFrame>
      <p:sp>
        <p:nvSpPr>
          <p:cNvPr id="15" name="TextovéPole 8">
            <a:extLst>
              <a:ext uri="{FF2B5EF4-FFF2-40B4-BE49-F238E27FC236}">
                <a16:creationId xmlns:a16="http://schemas.microsoft.com/office/drawing/2014/main" id="{647DDAC2-3C77-4F03-9BD2-24C7C1216857}"/>
              </a:ext>
            </a:extLst>
          </p:cNvPr>
          <p:cNvSpPr txBox="1"/>
          <p:nvPr/>
        </p:nvSpPr>
        <p:spPr>
          <a:xfrm>
            <a:off x="2990850" y="6567385"/>
            <a:ext cx="63627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Zdroj: ISIN – Informační systém infekční nemocí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9FAB93A6-2228-45F5-872E-1F511F38CC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010" y="2"/>
            <a:ext cx="7864952" cy="576000"/>
          </a:xfrm>
        </p:spPr>
        <p:txBody>
          <a:bodyPr/>
          <a:lstStyle/>
          <a:p>
            <a:r>
              <a:rPr lang="cs-CZ" dirty="0"/>
              <a:t>Počty pracovníků ve zdravotnictví (ZP) s nákazou COVID-19</a:t>
            </a: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7C1367ED-B273-4E58-BBB3-AD1B81F63A12}"/>
              </a:ext>
            </a:extLst>
          </p:cNvPr>
          <p:cNvGraphicFramePr>
            <a:graphicFrameLocks noGrp="1"/>
          </p:cNvGraphicFramePr>
          <p:nvPr/>
        </p:nvGraphicFramePr>
        <p:xfrm>
          <a:off x="1093858" y="1238720"/>
          <a:ext cx="10041310" cy="4754200"/>
        </p:xfrm>
        <a:graphic>
          <a:graphicData uri="http://schemas.openxmlformats.org/drawingml/2006/table">
            <a:tbl>
              <a:tblPr/>
              <a:tblGrid>
                <a:gridCol w="2694402">
                  <a:extLst>
                    <a:ext uri="{9D8B030D-6E8A-4147-A177-3AD203B41FA5}">
                      <a16:colId xmlns:a16="http://schemas.microsoft.com/office/drawing/2014/main" val="413071720"/>
                    </a:ext>
                  </a:extLst>
                </a:gridCol>
                <a:gridCol w="1836727">
                  <a:extLst>
                    <a:ext uri="{9D8B030D-6E8A-4147-A177-3AD203B41FA5}">
                      <a16:colId xmlns:a16="http://schemas.microsoft.com/office/drawing/2014/main" val="3345832007"/>
                    </a:ext>
                  </a:extLst>
                </a:gridCol>
                <a:gridCol w="1836727">
                  <a:extLst>
                    <a:ext uri="{9D8B030D-6E8A-4147-A177-3AD203B41FA5}">
                      <a16:colId xmlns:a16="http://schemas.microsoft.com/office/drawing/2014/main" val="3216505177"/>
                    </a:ext>
                  </a:extLst>
                </a:gridCol>
                <a:gridCol w="1836727">
                  <a:extLst>
                    <a:ext uri="{9D8B030D-6E8A-4147-A177-3AD203B41FA5}">
                      <a16:colId xmlns:a16="http://schemas.microsoft.com/office/drawing/2014/main" val="1240375351"/>
                    </a:ext>
                  </a:extLst>
                </a:gridCol>
                <a:gridCol w="1836727">
                  <a:extLst>
                    <a:ext uri="{9D8B030D-6E8A-4147-A177-3AD203B41FA5}">
                      <a16:colId xmlns:a16="http://schemas.microsoft.com/office/drawing/2014/main" val="1696405920"/>
                    </a:ext>
                  </a:extLst>
                </a:gridCol>
              </a:tblGrid>
              <a:tr h="763945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Počet celkem 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(*z toho v nemocnicích akutní lůžkové péče / ambulance PL, PLDD, PL gynekolog / ambulance zubního lékaře)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ékaři</a:t>
                      </a:r>
                      <a:endParaRPr lang="cs-CZ" sz="14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esterská povolání 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(§ 5 Všeobecná sestra, § 5a Dětská sestra, § 6 Porodní asistentka, § 21b Praktická sestra)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statní zdravotničtí pracovníci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1832207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8 / 1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13 / -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 (15 / - / 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 (36 / 1 / 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6640817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 / 1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5 / 2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(8 / -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14 / 3 / 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4809383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 / 1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(12 / -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8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 (21 / 1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0249884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3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7 / -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5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(15 / -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0390105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 (-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-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- / -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- / -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1515625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-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7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8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285489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- / -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2 / -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3928224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-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-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3425417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- / 1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4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3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7 / 1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319143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-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2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2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4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69061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7 / 2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 (13 / 3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(9 / -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 (29 / 5 / 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745060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4 / - / 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4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(12 / 1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20 / 1 / 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9134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3 / -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8 / 1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4 / -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15 / 1 / 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5124751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5 / 1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(22 / 2 / -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 (10 / - / 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 (37 / 3 / 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8326513"/>
                  </a:ext>
                </a:extLst>
              </a:tr>
              <a:tr h="26601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 (33 / 7 / 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7 (98 / 8 / 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8 (78 / 1 / 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9 (209 / 16 / 2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1328876"/>
                  </a:ext>
                </a:extLst>
              </a:tr>
            </a:tbl>
          </a:graphicData>
        </a:graphic>
      </p:graphicFrame>
      <p:sp>
        <p:nvSpPr>
          <p:cNvPr id="6" name="Obdélník 4">
            <a:extLst>
              <a:ext uri="{FF2B5EF4-FFF2-40B4-BE49-F238E27FC236}">
                <a16:creationId xmlns:a16="http://schemas.microsoft.com/office/drawing/2014/main" id="{CF4F4DD4-5D05-4AA4-B6B7-30E2E7BF4344}"/>
              </a:ext>
            </a:extLst>
          </p:cNvPr>
          <p:cNvSpPr/>
          <p:nvPr/>
        </p:nvSpPr>
        <p:spPr>
          <a:xfrm>
            <a:off x="609693" y="724725"/>
            <a:ext cx="1097101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ctr"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nově COVID-19 pozitivních </a:t>
            </a:r>
            <a:r>
              <a:rPr lang="cs-CZ" sz="2000" b="1" dirty="0">
                <a:solidFill>
                  <a:srgbClr val="C00000"/>
                </a:solidFill>
                <a:latin typeface="Calibri" panose="020F0502020204030204" pitchFamily="34" charset="0"/>
              </a:rPr>
              <a:t>za 7denní období 15. 10. – 21. 10. 2021 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7DA84AC6-10F0-4D41-9F1A-6572994DE132}"/>
              </a:ext>
            </a:extLst>
          </p:cNvPr>
          <p:cNvSpPr txBox="1"/>
          <p:nvPr/>
        </p:nvSpPr>
        <p:spPr>
          <a:xfrm>
            <a:off x="3707125" y="6081831"/>
            <a:ext cx="70547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dirty="0"/>
              <a:t>Barevné škály vizualizují rozsah hodnot v územích v rámci sledovaného ukazatele (sloupce)</a:t>
            </a: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648325E5-F71A-402A-B781-52C4AA1B55C4}"/>
              </a:ext>
            </a:extLst>
          </p:cNvPr>
          <p:cNvSpPr txBox="1"/>
          <p:nvPr/>
        </p:nvSpPr>
        <p:spPr>
          <a:xfrm>
            <a:off x="1495631" y="6316806"/>
            <a:ext cx="938316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/>
              <a:t>* zdravotničtí pracovníci mohou být zaměstnáni ve více typech zdravotnických zařízení a jsou pak započítáni do každé příslušné skupiny</a:t>
            </a:r>
          </a:p>
        </p:txBody>
      </p:sp>
      <p:grpSp>
        <p:nvGrpSpPr>
          <p:cNvPr id="17" name="Skupina 16">
            <a:extLst>
              <a:ext uri="{FF2B5EF4-FFF2-40B4-BE49-F238E27FC236}">
                <a16:creationId xmlns:a16="http://schemas.microsoft.com/office/drawing/2014/main" id="{747C38F7-A7F7-4B0C-9D0A-01511E1A6161}"/>
              </a:ext>
            </a:extLst>
          </p:cNvPr>
          <p:cNvGrpSpPr/>
          <p:nvPr/>
        </p:nvGrpSpPr>
        <p:grpSpPr>
          <a:xfrm>
            <a:off x="1592578" y="6134593"/>
            <a:ext cx="2143122" cy="171474"/>
            <a:chOff x="2185672" y="6586960"/>
            <a:chExt cx="2143122" cy="171474"/>
          </a:xfrm>
        </p:grpSpPr>
        <p:sp>
          <p:nvSpPr>
            <p:cNvPr id="18" name="TextovéPole 17">
              <a:extLst>
                <a:ext uri="{FF2B5EF4-FFF2-40B4-BE49-F238E27FC236}">
                  <a16:creationId xmlns:a16="http://schemas.microsoft.com/office/drawing/2014/main" id="{159EDEC4-9347-43EC-A452-533F0BDD4739}"/>
                </a:ext>
              </a:extLst>
            </p:cNvPr>
            <p:cNvSpPr txBox="1"/>
            <p:nvPr/>
          </p:nvSpPr>
          <p:spPr>
            <a:xfrm>
              <a:off x="2185672" y="6586960"/>
              <a:ext cx="2143122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cs-CZ" sz="1000" dirty="0"/>
                <a:t>min %                                    max %</a:t>
              </a:r>
            </a:p>
          </p:txBody>
        </p:sp>
        <p:pic>
          <p:nvPicPr>
            <p:cNvPr id="19" name="Obrázek 18">
              <a:extLst>
                <a:ext uri="{FF2B5EF4-FFF2-40B4-BE49-F238E27FC236}">
                  <a16:creationId xmlns:a16="http://schemas.microsoft.com/office/drawing/2014/main" id="{67B50C2A-82CD-4E17-A551-738737906C9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653291" y="6586960"/>
              <a:ext cx="1190791" cy="17147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6100071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ání zdravotnických pracovníků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856A4F3-4E68-4416-AC19-AF13BC48D3B9}"/>
              </a:ext>
            </a:extLst>
          </p:cNvPr>
          <p:cNvSpPr txBox="1"/>
          <p:nvPr/>
        </p:nvSpPr>
        <p:spPr>
          <a:xfrm>
            <a:off x="5791199" y="102272"/>
            <a:ext cx="23056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21. 10. 2021</a:t>
            </a: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169149" y="1996486"/>
            <a:ext cx="11853702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ysoká úroveň proočkovanosti je patrná u pracovníků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akutní lůžkové péči a v záchranné zdravotnické službě: lékaři 86 % a sestry 79 %. Přesto </a:t>
            </a:r>
            <a:r>
              <a:rPr lang="cs-CZ" sz="3200" b="1" dirty="0">
                <a:latin typeface="Arial" panose="020B0604020202020204"/>
              </a:rPr>
              <a:t>i v této kategorii existuje prostor k posílení očkování, zejména v některých moravských regionech. </a:t>
            </a:r>
            <a:endParaRPr kumimoji="0" lang="cs-CZ" sz="32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32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Šipka dolů 10"/>
          <p:cNvSpPr/>
          <p:nvPr/>
        </p:nvSpPr>
        <p:spPr>
          <a:xfrm>
            <a:off x="5390575" y="4652888"/>
            <a:ext cx="1164566" cy="48310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7490957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2538" y="0"/>
            <a:ext cx="8037065" cy="576000"/>
          </a:xfrm>
        </p:spPr>
        <p:txBody>
          <a:bodyPr/>
          <a:lstStyle/>
          <a:p>
            <a:r>
              <a:rPr lang="cs-CZ" dirty="0"/>
              <a:t>Očkovaní zdravotníci v nemocnicích akutní lůžkové péče a ZZS</a:t>
            </a:r>
          </a:p>
        </p:txBody>
      </p:sp>
      <p:graphicFrame>
        <p:nvGraphicFramePr>
          <p:cNvPr id="9" name="Chart 6">
            <a:extLst>
              <a:ext uri="{FF2B5EF4-FFF2-40B4-BE49-F238E27FC236}">
                <a16:creationId xmlns:a16="http://schemas.microsoft.com/office/drawing/2014/main" id="{95B21923-74CC-4971-8ACF-75603B949F8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15837989"/>
              </p:ext>
            </p:extLst>
          </p:nvPr>
        </p:nvGraphicFramePr>
        <p:xfrm>
          <a:off x="10136" y="1281717"/>
          <a:ext cx="5060115" cy="51184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TextBox 7">
            <a:extLst>
              <a:ext uri="{FF2B5EF4-FFF2-40B4-BE49-F238E27FC236}">
                <a16:creationId xmlns:a16="http://schemas.microsoft.com/office/drawing/2014/main" id="{859ED9E0-6A53-405A-BD02-85A115DFB578}"/>
              </a:ext>
            </a:extLst>
          </p:cNvPr>
          <p:cNvSpPr txBox="1"/>
          <p:nvPr/>
        </p:nvSpPr>
        <p:spPr>
          <a:xfrm>
            <a:off x="1653004" y="1079435"/>
            <a:ext cx="317617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b="1" dirty="0"/>
              <a:t>Podíl vakcinovaných (%)</a:t>
            </a:r>
          </a:p>
        </p:txBody>
      </p:sp>
      <p:graphicFrame>
        <p:nvGraphicFramePr>
          <p:cNvPr id="12" name="Tabulka 11">
            <a:extLst>
              <a:ext uri="{FF2B5EF4-FFF2-40B4-BE49-F238E27FC236}">
                <a16:creationId xmlns:a16="http://schemas.microsoft.com/office/drawing/2014/main" id="{8DE006A4-47CC-483A-94C2-37A91796F02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41439996"/>
              </p:ext>
            </p:extLst>
          </p:nvPr>
        </p:nvGraphicFramePr>
        <p:xfrm>
          <a:off x="5070251" y="1245141"/>
          <a:ext cx="1013589" cy="5010075"/>
        </p:xfrm>
        <a:graphic>
          <a:graphicData uri="http://schemas.openxmlformats.org/drawingml/2006/table">
            <a:tbl>
              <a:tblPr/>
              <a:tblGrid>
                <a:gridCol w="1013589">
                  <a:extLst>
                    <a:ext uri="{9D8B030D-6E8A-4147-A177-3AD203B41FA5}">
                      <a16:colId xmlns:a16="http://schemas.microsoft.com/office/drawing/2014/main" val="1754736106"/>
                    </a:ext>
                  </a:extLst>
                </a:gridCol>
              </a:tblGrid>
              <a:tr h="29721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čet očkovaný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9787436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8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71362382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6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8109056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90199693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46217483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65343237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98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0531042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05882648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6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10276534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6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8817226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 26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02471657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6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02659568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67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99396529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36740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2782957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8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77793540"/>
                  </a:ext>
                </a:extLst>
              </a:tr>
            </a:tbl>
          </a:graphicData>
        </a:graphic>
      </p:graphicFrame>
      <p:sp>
        <p:nvSpPr>
          <p:cNvPr id="13" name="Obdélník 12">
            <a:extLst>
              <a:ext uri="{FF2B5EF4-FFF2-40B4-BE49-F238E27FC236}">
                <a16:creationId xmlns:a16="http://schemas.microsoft.com/office/drawing/2014/main" id="{A045BA81-95DE-42BA-99D6-CBB4DCCC5501}"/>
              </a:ext>
            </a:extLst>
          </p:cNvPr>
          <p:cNvSpPr/>
          <p:nvPr/>
        </p:nvSpPr>
        <p:spPr>
          <a:xfrm>
            <a:off x="172060" y="6354140"/>
            <a:ext cx="8105165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100" dirty="0"/>
              <a:t>Do analýzy jsou zahrnuti pouze zdravotničtí pracovníci nahlášení poskytovateli zdravotnických služeb jako aktuálně zaměstnaní.</a:t>
            </a:r>
          </a:p>
          <a:p>
            <a:r>
              <a:rPr lang="cs-CZ" sz="1100" dirty="0"/>
              <a:t>Zdroj: Národní registr zdravotnických pracovníků (NRZP), ÚZIS ČR; Informační systém infekční nemoci (ISIN) </a:t>
            </a:r>
          </a:p>
        </p:txBody>
      </p:sp>
      <p:sp>
        <p:nvSpPr>
          <p:cNvPr id="14" name="TextBox 7">
            <a:extLst>
              <a:ext uri="{FF2B5EF4-FFF2-40B4-BE49-F238E27FC236}">
                <a16:creationId xmlns:a16="http://schemas.microsoft.com/office/drawing/2014/main" id="{F1F59839-6B54-4C6A-814C-0F7D2FA4596F}"/>
              </a:ext>
            </a:extLst>
          </p:cNvPr>
          <p:cNvSpPr txBox="1"/>
          <p:nvPr/>
        </p:nvSpPr>
        <p:spPr>
          <a:xfrm>
            <a:off x="267310" y="725400"/>
            <a:ext cx="53333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Lékaři </a:t>
            </a:r>
            <a:r>
              <a:rPr lang="cs-CZ" sz="1400" dirty="0"/>
              <a:t>(včetně zubních lékařů)</a:t>
            </a:r>
            <a:endParaRPr lang="cs-CZ" dirty="0"/>
          </a:p>
        </p:txBody>
      </p:sp>
      <p:graphicFrame>
        <p:nvGraphicFramePr>
          <p:cNvPr id="15" name="Chart 6">
            <a:extLst>
              <a:ext uri="{FF2B5EF4-FFF2-40B4-BE49-F238E27FC236}">
                <a16:creationId xmlns:a16="http://schemas.microsoft.com/office/drawing/2014/main" id="{04728811-3D14-4440-A95A-65B5E4851AE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52207490"/>
              </p:ext>
            </p:extLst>
          </p:nvPr>
        </p:nvGraphicFramePr>
        <p:xfrm>
          <a:off x="6185074" y="1281717"/>
          <a:ext cx="5060115" cy="51184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6" name="TextBox 7">
            <a:extLst>
              <a:ext uri="{FF2B5EF4-FFF2-40B4-BE49-F238E27FC236}">
                <a16:creationId xmlns:a16="http://schemas.microsoft.com/office/drawing/2014/main" id="{68CBEAFC-AB11-4E0B-8467-5B7AAE3834DA}"/>
              </a:ext>
            </a:extLst>
          </p:cNvPr>
          <p:cNvSpPr txBox="1"/>
          <p:nvPr/>
        </p:nvSpPr>
        <p:spPr>
          <a:xfrm>
            <a:off x="7827942" y="1079435"/>
            <a:ext cx="317617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b="1" dirty="0"/>
              <a:t>Podíl vakcinovaných (%)</a:t>
            </a:r>
          </a:p>
        </p:txBody>
      </p:sp>
      <p:graphicFrame>
        <p:nvGraphicFramePr>
          <p:cNvPr id="17" name="Tabulka 16">
            <a:extLst>
              <a:ext uri="{FF2B5EF4-FFF2-40B4-BE49-F238E27FC236}">
                <a16:creationId xmlns:a16="http://schemas.microsoft.com/office/drawing/2014/main" id="{38E50632-3864-418D-91C6-3A9FEBF812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44654041"/>
              </p:ext>
            </p:extLst>
          </p:nvPr>
        </p:nvGraphicFramePr>
        <p:xfrm>
          <a:off x="11181969" y="1244893"/>
          <a:ext cx="950976" cy="5010075"/>
        </p:xfrm>
        <a:graphic>
          <a:graphicData uri="http://schemas.openxmlformats.org/drawingml/2006/table">
            <a:tbl>
              <a:tblPr/>
              <a:tblGrid>
                <a:gridCol w="950976">
                  <a:extLst>
                    <a:ext uri="{9D8B030D-6E8A-4147-A177-3AD203B41FA5}">
                      <a16:colId xmlns:a16="http://schemas.microsoft.com/office/drawing/2014/main" val="1754736106"/>
                    </a:ext>
                  </a:extLst>
                </a:gridCol>
              </a:tblGrid>
              <a:tr h="29721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čet očkovaný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9787436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73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71362382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5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8109056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4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90199693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6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46217483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77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65343237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5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0531042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4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05882648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0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10276534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 07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8817226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8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02471657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70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02659568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7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99396529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07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36740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2782957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6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77793540"/>
                  </a:ext>
                </a:extLst>
              </a:tr>
            </a:tbl>
          </a:graphicData>
        </a:graphic>
      </p:graphicFrame>
      <p:sp>
        <p:nvSpPr>
          <p:cNvPr id="18" name="TextBox 7">
            <a:extLst>
              <a:ext uri="{FF2B5EF4-FFF2-40B4-BE49-F238E27FC236}">
                <a16:creationId xmlns:a16="http://schemas.microsoft.com/office/drawing/2014/main" id="{0A250D1E-21AE-452B-8E14-DA72C406298D}"/>
              </a:ext>
            </a:extLst>
          </p:cNvPr>
          <p:cNvSpPr txBox="1"/>
          <p:nvPr/>
        </p:nvSpPr>
        <p:spPr>
          <a:xfrm>
            <a:off x="6442248" y="725400"/>
            <a:ext cx="53333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Sestry*</a:t>
            </a:r>
            <a:endParaRPr lang="cs-CZ" dirty="0"/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9FD5F7F0-9879-44F5-8A51-0926E63C659F}"/>
              </a:ext>
            </a:extLst>
          </p:cNvPr>
          <p:cNvSpPr/>
          <p:nvPr/>
        </p:nvSpPr>
        <p:spPr>
          <a:xfrm>
            <a:off x="8410574" y="6354140"/>
            <a:ext cx="3429002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100" b="1" dirty="0"/>
              <a:t>*Sestry</a:t>
            </a:r>
            <a:r>
              <a:rPr lang="cs-CZ" sz="1100" dirty="0"/>
              <a:t> - § 5 Všeobecná sestra, § 5a Dětská sestra, § 6 Porodní asistentka, § 21b Praktická sestra</a:t>
            </a:r>
          </a:p>
        </p:txBody>
      </p:sp>
      <p:sp>
        <p:nvSpPr>
          <p:cNvPr id="20" name="TextBox 6">
            <a:extLst>
              <a:ext uri="{FF2B5EF4-FFF2-40B4-BE49-F238E27FC236}">
                <a16:creationId xmlns:a16="http://schemas.microsoft.com/office/drawing/2014/main" id="{0D1107EB-D187-4678-AF28-2A18CAE50957}"/>
              </a:ext>
            </a:extLst>
          </p:cNvPr>
          <p:cNvSpPr txBox="1"/>
          <p:nvPr/>
        </p:nvSpPr>
        <p:spPr>
          <a:xfrm>
            <a:off x="5427835" y="596549"/>
            <a:ext cx="200977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1400" b="1" dirty="0"/>
              <a:t>Stav k 21. 10. 2021</a:t>
            </a:r>
          </a:p>
        </p:txBody>
      </p:sp>
    </p:spTree>
    <p:extLst>
      <p:ext uri="{BB962C8B-B14F-4D97-AF65-F5344CB8AC3E}">
        <p14:creationId xmlns:p14="http://schemas.microsoft.com/office/powerpoint/2010/main" val="43482787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ání zdravotnických pracovníků </a:t>
            </a:r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552450" y="833301"/>
            <a:ext cx="11039475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ezi skupinami zdravotnických pracovníků je nejnižší proočkovanost u nelékařských zdravotnických pracovníků, která dosahuje 76 %.</a:t>
            </a: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173256" y="3241554"/>
            <a:ext cx="11853702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př. profese sanitáře a fyzioterapeuta patřila mezi nejčastěji nakažené, jak dokládají reprezentativní data. Přitom jde o pracovníky s velkým počtem kontaktů ve zdravotnických zařízeních. Posílení očkování i u těchto zdravotnických profesí je potřebné. </a:t>
            </a:r>
          </a:p>
        </p:txBody>
      </p:sp>
      <p:sp>
        <p:nvSpPr>
          <p:cNvPr id="11" name="Šipka dolů 10"/>
          <p:cNvSpPr/>
          <p:nvPr/>
        </p:nvSpPr>
        <p:spPr>
          <a:xfrm>
            <a:off x="5289224" y="6024699"/>
            <a:ext cx="1164566" cy="48310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Šipka dolů 11"/>
          <p:cNvSpPr/>
          <p:nvPr/>
        </p:nvSpPr>
        <p:spPr>
          <a:xfrm>
            <a:off x="5289224" y="2568347"/>
            <a:ext cx="1164566" cy="48310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233007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Graf 17">
            <a:extLst>
              <a:ext uri="{FF2B5EF4-FFF2-40B4-BE49-F238E27FC236}">
                <a16:creationId xmlns:a16="http://schemas.microsoft.com/office/drawing/2014/main" id="{67714BB1-BEFB-4B6A-BA4B-87D00EC0BC8B}"/>
              </a:ext>
            </a:extLst>
          </p:cNvPr>
          <p:cNvGraphicFramePr/>
          <p:nvPr/>
        </p:nvGraphicFramePr>
        <p:xfrm>
          <a:off x="40511" y="729673"/>
          <a:ext cx="11855235" cy="58673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D287B611-02D0-49D2-B339-A7B816C3C828}"/>
              </a:ext>
            </a:extLst>
          </p:cNvPr>
          <p:cNvSpPr txBox="1"/>
          <p:nvPr/>
        </p:nvSpPr>
        <p:spPr>
          <a:xfrm>
            <a:off x="2162175" y="6583202"/>
            <a:ext cx="766548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stém, ISIN – Informační systém infekční nemocí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CE02CAE-4282-4A4F-990C-53954F77CB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557303" cy="576000"/>
          </a:xfrm>
        </p:spPr>
        <p:txBody>
          <a:bodyPr/>
          <a:lstStyle/>
          <a:p>
            <a:r>
              <a:rPr lang="cs-CZ" dirty="0"/>
              <a:t>Přehled povolání u COVID-19 pozitivních ostatních zdravotnických pracovníků za období 01-10 / 2021 k 21. 10.</a:t>
            </a:r>
          </a:p>
        </p:txBody>
      </p:sp>
      <p:sp>
        <p:nvSpPr>
          <p:cNvPr id="5" name="Obdélník 4">
            <a:extLst>
              <a:ext uri="{FF2B5EF4-FFF2-40B4-BE49-F238E27FC236}">
                <a16:creationId xmlns:a16="http://schemas.microsoft.com/office/drawing/2014/main" id="{FDB5357A-74B2-4F73-9151-19DFF199B935}"/>
              </a:ext>
            </a:extLst>
          </p:cNvPr>
          <p:cNvSpPr/>
          <p:nvPr/>
        </p:nvSpPr>
        <p:spPr>
          <a:xfrm>
            <a:off x="261654" y="846827"/>
            <a:ext cx="380104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ty známých pracovních pozic</a:t>
            </a:r>
          </a:p>
        </p:txBody>
      </p:sp>
      <p:sp>
        <p:nvSpPr>
          <p:cNvPr id="8" name="TextBox 6">
            <a:extLst>
              <a:ext uri="{FF2B5EF4-FFF2-40B4-BE49-F238E27FC236}">
                <a16:creationId xmlns:a16="http://schemas.microsoft.com/office/drawing/2014/main" id="{0553929A-22E7-4A3C-B2A6-F2301789E83D}"/>
              </a:ext>
            </a:extLst>
          </p:cNvPr>
          <p:cNvSpPr txBox="1"/>
          <p:nvPr/>
        </p:nvSpPr>
        <p:spPr>
          <a:xfrm>
            <a:off x="9847292" y="6560118"/>
            <a:ext cx="200977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1200" b="1" dirty="0"/>
              <a:t>Stav k 21. 10. 2021</a:t>
            </a:r>
          </a:p>
        </p:txBody>
      </p:sp>
    </p:spTree>
    <p:extLst>
      <p:ext uri="{BB962C8B-B14F-4D97-AF65-F5344CB8AC3E}">
        <p14:creationId xmlns:p14="http://schemas.microsoft.com/office/powerpoint/2010/main" val="164514236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Graf 17">
            <a:extLst>
              <a:ext uri="{FF2B5EF4-FFF2-40B4-BE49-F238E27FC236}">
                <a16:creationId xmlns:a16="http://schemas.microsoft.com/office/drawing/2014/main" id="{67714BB1-BEFB-4B6A-BA4B-87D00EC0BC8B}"/>
              </a:ext>
            </a:extLst>
          </p:cNvPr>
          <p:cNvGraphicFramePr/>
          <p:nvPr/>
        </p:nvGraphicFramePr>
        <p:xfrm>
          <a:off x="40511" y="729673"/>
          <a:ext cx="11855235" cy="58673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D287B611-02D0-49D2-B339-A7B816C3C828}"/>
              </a:ext>
            </a:extLst>
          </p:cNvPr>
          <p:cNvSpPr txBox="1"/>
          <p:nvPr/>
        </p:nvSpPr>
        <p:spPr>
          <a:xfrm>
            <a:off x="2162175" y="6583202"/>
            <a:ext cx="766548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stém, ISIN – Informační systém infekční nemocí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CE02CAE-4282-4A4F-990C-53954F77CB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557303" cy="576000"/>
          </a:xfrm>
        </p:spPr>
        <p:txBody>
          <a:bodyPr/>
          <a:lstStyle/>
          <a:p>
            <a:r>
              <a:rPr lang="cs-CZ" dirty="0"/>
              <a:t>Přehled povolání u COVID-19 pozitivních ostatních zdravotnických pracovníků za období 09-10 / 2021 k 21. 10.</a:t>
            </a:r>
          </a:p>
        </p:txBody>
      </p:sp>
      <p:sp>
        <p:nvSpPr>
          <p:cNvPr id="5" name="Obdélník 4">
            <a:extLst>
              <a:ext uri="{FF2B5EF4-FFF2-40B4-BE49-F238E27FC236}">
                <a16:creationId xmlns:a16="http://schemas.microsoft.com/office/drawing/2014/main" id="{FDB5357A-74B2-4F73-9151-19DFF199B935}"/>
              </a:ext>
            </a:extLst>
          </p:cNvPr>
          <p:cNvSpPr/>
          <p:nvPr/>
        </p:nvSpPr>
        <p:spPr>
          <a:xfrm>
            <a:off x="261654" y="846827"/>
            <a:ext cx="380104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ty známých pracovních pozic</a:t>
            </a:r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CE819702-3927-4B90-94FB-62346EEA34F0}"/>
              </a:ext>
            </a:extLst>
          </p:cNvPr>
          <p:cNvSpPr txBox="1"/>
          <p:nvPr/>
        </p:nvSpPr>
        <p:spPr>
          <a:xfrm>
            <a:off x="9847292" y="6560118"/>
            <a:ext cx="200977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1200" b="1" dirty="0"/>
              <a:t>Stav k 21. 10. 2021</a:t>
            </a:r>
          </a:p>
        </p:txBody>
      </p:sp>
    </p:spTree>
    <p:extLst>
      <p:ext uri="{BB962C8B-B14F-4D97-AF65-F5344CB8AC3E}">
        <p14:creationId xmlns:p14="http://schemas.microsoft.com/office/powerpoint/2010/main" val="111974865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aktivní zdravotničtí pracovníci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B5F8F24A-407C-46C2-BF8F-7094A798CF34}"/>
              </a:ext>
            </a:extLst>
          </p:cNvPr>
          <p:cNvSpPr/>
          <p:nvPr/>
        </p:nvSpPr>
        <p:spPr>
          <a:xfrm>
            <a:off x="331021" y="5689889"/>
            <a:ext cx="11454102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Zákon č. 96/2004 Sb. o podmínkách získávání a uznávání způsobilosti k výkonu nelékařských zdravotnických povolání a k výkonu činnosti souvisejících s poskytováním zdravotní péče a o změně některých souvisejících zákonů (zákon o nelékařských zdravotnických povoláních); Zákona č. 95/2004 Sb. o podmínkách získávání a uznávání odborné způsobilosti a specializované způsobilosti k výkonu zdravotnického povolání lékaře, zubního lékaře a farmaceuta.</a:t>
            </a:r>
          </a:p>
          <a:p>
            <a:pPr>
              <a:defRPr/>
            </a:pPr>
            <a:r>
              <a:rPr lang="cs-CZ" sz="1100" dirty="0">
                <a:solidFill>
                  <a:srgbClr val="000000"/>
                </a:solidFill>
              </a:rPr>
              <a:t>** Počet zdravotnických pracovníků nahlášených do NZIS (Národní registr zdravotnických pracovníků – NRZP) poskytovateli zdravotních služeb jako aktivní v období od 1.9.2021 do současnosti.</a:t>
            </a:r>
          </a:p>
        </p:txBody>
      </p:sp>
      <p:sp>
        <p:nvSpPr>
          <p:cNvPr id="8" name="TextovéPole 7"/>
          <p:cNvSpPr txBox="1"/>
          <p:nvPr/>
        </p:nvSpPr>
        <p:spPr>
          <a:xfrm>
            <a:off x="309541" y="621246"/>
            <a:ext cx="1156130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Počet zdravotnických pracovníků (ZP) dle hlášení povinných subjektů do NRZP** (vzdělávací instituce, poskytovatelé). Celkový počet ZP zahrnuje osoby s odpovídající odbornou způsobilostí pro výkony ZP* a žijící k danému datu. V této analýze jsou zahrnuti ZP, u kterých poskytovatelé zdravotních služeb nahlásili jejich aktivní výkon zaměstnání (v ambulantním sektoru mohou být tyto počty mírně nedohlášené). </a:t>
            </a:r>
          </a:p>
        </p:txBody>
      </p:sp>
      <p:sp>
        <p:nvSpPr>
          <p:cNvPr id="12" name="TextBox 6">
            <a:extLst>
              <a:ext uri="{FF2B5EF4-FFF2-40B4-BE49-F238E27FC236}">
                <a16:creationId xmlns:a16="http://schemas.microsoft.com/office/drawing/2014/main" id="{7A968ED8-B7A5-4B68-AF27-DAE3E4FFEDCD}"/>
              </a:ext>
            </a:extLst>
          </p:cNvPr>
          <p:cNvSpPr txBox="1"/>
          <p:nvPr/>
        </p:nvSpPr>
        <p:spPr>
          <a:xfrm>
            <a:off x="6096000" y="125783"/>
            <a:ext cx="20097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600" b="1" dirty="0">
                <a:solidFill>
                  <a:srgbClr val="FFFFFF"/>
                </a:solidFill>
              </a:rPr>
              <a:t>Stav k 21. 10. 2021</a:t>
            </a:r>
          </a:p>
        </p:txBody>
      </p:sp>
      <p:graphicFrame>
        <p:nvGraphicFramePr>
          <p:cNvPr id="13" name="Tabulka 12">
            <a:extLst>
              <a:ext uri="{FF2B5EF4-FFF2-40B4-BE49-F238E27FC236}">
                <a16:creationId xmlns:a16="http://schemas.microsoft.com/office/drawing/2014/main" id="{9EBA9451-7A3F-4EF9-93DD-7094F620D3D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23846371"/>
              </p:ext>
            </p:extLst>
          </p:nvPr>
        </p:nvGraphicFramePr>
        <p:xfrm>
          <a:off x="356585" y="1390933"/>
          <a:ext cx="11273440" cy="427385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567965">
                  <a:extLst>
                    <a:ext uri="{9D8B030D-6E8A-4147-A177-3AD203B41FA5}">
                      <a16:colId xmlns:a16="http://schemas.microsoft.com/office/drawing/2014/main" val="2651665098"/>
                    </a:ext>
                  </a:extLst>
                </a:gridCol>
                <a:gridCol w="1901825">
                  <a:extLst>
                    <a:ext uri="{9D8B030D-6E8A-4147-A177-3AD203B41FA5}">
                      <a16:colId xmlns:a16="http://schemas.microsoft.com/office/drawing/2014/main" val="3939455336"/>
                    </a:ext>
                  </a:extLst>
                </a:gridCol>
                <a:gridCol w="1901825">
                  <a:extLst>
                    <a:ext uri="{9D8B030D-6E8A-4147-A177-3AD203B41FA5}">
                      <a16:colId xmlns:a16="http://schemas.microsoft.com/office/drawing/2014/main" val="2226907532"/>
                    </a:ext>
                  </a:extLst>
                </a:gridCol>
                <a:gridCol w="1901825">
                  <a:extLst>
                    <a:ext uri="{9D8B030D-6E8A-4147-A177-3AD203B41FA5}">
                      <a16:colId xmlns:a16="http://schemas.microsoft.com/office/drawing/2014/main" val="2183727549"/>
                    </a:ext>
                  </a:extLst>
                </a:gridCol>
              </a:tblGrid>
              <a:tr h="68436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dirty="0"/>
                        <a:t>Zdravotničtí pracovníci </a:t>
                      </a:r>
                    </a:p>
                    <a:p>
                      <a:pPr algn="l" fontAlgn="ctr"/>
                      <a:r>
                        <a:rPr lang="cs-CZ" sz="1600" dirty="0"/>
                        <a:t>evidovaní v NZIS**</a:t>
                      </a:r>
                      <a:endParaRPr lang="cs-CZ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 dirty="0">
                          <a:effectLst/>
                        </a:rPr>
                        <a:t>Počet aktivních zdravotnických pracovníků**</a:t>
                      </a:r>
                      <a:endParaRPr lang="cs-CZ" sz="16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u="none" strike="noStrike" dirty="0">
                          <a:effectLst/>
                        </a:rPr>
                        <a:t>Počet očkovaných</a:t>
                      </a:r>
                      <a:endParaRPr lang="cs-CZ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u="none" strike="noStrike" dirty="0">
                          <a:effectLst/>
                        </a:rPr>
                        <a:t>Podíl očkovaných</a:t>
                      </a:r>
                      <a:endParaRPr lang="cs-CZ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3304470326"/>
                  </a:ext>
                </a:extLst>
              </a:tr>
              <a:tr h="4973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armaceuti</a:t>
                      </a:r>
                    </a:p>
                    <a:p>
                      <a:pPr algn="l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farmaceut, § 19 Farmaceutický asistent)</a:t>
                      </a:r>
                      <a:endParaRPr lang="cs-CZ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19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69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,3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85223301"/>
                  </a:ext>
                </a:extLst>
              </a:tr>
              <a:tr h="4973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36 Ošetřovatel</a:t>
                      </a: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52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9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,1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1230907"/>
                  </a:ext>
                </a:extLst>
              </a:tr>
              <a:tr h="4973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42 Sanitář</a:t>
                      </a: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 09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 32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,0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12447989"/>
                  </a:ext>
                </a:extLst>
              </a:tr>
              <a:tr h="4973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18 Zdravotnický záchranář</a:t>
                      </a: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45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67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2,7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83551337"/>
                  </a:ext>
                </a:extLst>
              </a:tr>
              <a:tr h="4973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§ 24 Fyzioterapeut</a:t>
                      </a: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19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53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,1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17754198"/>
                  </a:ext>
                </a:extLst>
              </a:tr>
              <a:tr h="52218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boratorní pracovníci</a:t>
                      </a:r>
                    </a:p>
                    <a:p>
                      <a:pPr algn="l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§ 8 Radiologický asistent, § 9 Zdravotní laborant, § 26 Odborný pracovník v laboratorních metodách a v přípravě léčivých přípravků, § 30 Laboratorní asistent, § 41 Autoptický laborant)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52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32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,0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30714590"/>
                  </a:ext>
                </a:extLst>
              </a:tr>
              <a:tr h="4973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statní NLZP</a:t>
                      </a:r>
                    </a:p>
                  </a:txBody>
                  <a:tcPr marL="36000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05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,1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18325100"/>
                  </a:ext>
                </a:extLst>
              </a:tr>
            </a:tbl>
          </a:graphicData>
        </a:graphic>
      </p:graphicFrame>
      <p:sp>
        <p:nvSpPr>
          <p:cNvPr id="11" name="Obdélník 10">
            <a:extLst>
              <a:ext uri="{FF2B5EF4-FFF2-40B4-BE49-F238E27FC236}">
                <a16:creationId xmlns:a16="http://schemas.microsoft.com/office/drawing/2014/main" id="{6BEBD7D0-42BD-498C-808F-66E0FCBEB10D}"/>
              </a:ext>
            </a:extLst>
          </p:cNvPr>
          <p:cNvSpPr/>
          <p:nvPr/>
        </p:nvSpPr>
        <p:spPr>
          <a:xfrm>
            <a:off x="1733551" y="6575571"/>
            <a:ext cx="828039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</p:spTree>
    <p:extLst>
      <p:ext uri="{BB962C8B-B14F-4D97-AF65-F5344CB8AC3E}">
        <p14:creationId xmlns:p14="http://schemas.microsoft.com/office/powerpoint/2010/main" val="243583781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F28C2D83-E330-4F9D-BCDF-6CE92641053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35969442"/>
              </p:ext>
            </p:extLst>
          </p:nvPr>
        </p:nvGraphicFramePr>
        <p:xfrm>
          <a:off x="1943099" y="1448593"/>
          <a:ext cx="9946013" cy="4689135"/>
        </p:xfrm>
        <a:graphic>
          <a:graphicData uri="http://schemas.openxmlformats.org/drawingml/2006/table">
            <a:tbl>
              <a:tblPr/>
              <a:tblGrid>
                <a:gridCol w="1420859">
                  <a:extLst>
                    <a:ext uri="{9D8B030D-6E8A-4147-A177-3AD203B41FA5}">
                      <a16:colId xmlns:a16="http://schemas.microsoft.com/office/drawing/2014/main" val="2214402774"/>
                    </a:ext>
                  </a:extLst>
                </a:gridCol>
                <a:gridCol w="1420859">
                  <a:extLst>
                    <a:ext uri="{9D8B030D-6E8A-4147-A177-3AD203B41FA5}">
                      <a16:colId xmlns:a16="http://schemas.microsoft.com/office/drawing/2014/main" val="1229071449"/>
                    </a:ext>
                  </a:extLst>
                </a:gridCol>
                <a:gridCol w="1420859">
                  <a:extLst>
                    <a:ext uri="{9D8B030D-6E8A-4147-A177-3AD203B41FA5}">
                      <a16:colId xmlns:a16="http://schemas.microsoft.com/office/drawing/2014/main" val="728192210"/>
                    </a:ext>
                  </a:extLst>
                </a:gridCol>
                <a:gridCol w="1420859">
                  <a:extLst>
                    <a:ext uri="{9D8B030D-6E8A-4147-A177-3AD203B41FA5}">
                      <a16:colId xmlns:a16="http://schemas.microsoft.com/office/drawing/2014/main" val="941059580"/>
                    </a:ext>
                  </a:extLst>
                </a:gridCol>
                <a:gridCol w="1420859">
                  <a:extLst>
                    <a:ext uri="{9D8B030D-6E8A-4147-A177-3AD203B41FA5}">
                      <a16:colId xmlns:a16="http://schemas.microsoft.com/office/drawing/2014/main" val="1434652934"/>
                    </a:ext>
                  </a:extLst>
                </a:gridCol>
                <a:gridCol w="1420859">
                  <a:extLst>
                    <a:ext uri="{9D8B030D-6E8A-4147-A177-3AD203B41FA5}">
                      <a16:colId xmlns:a16="http://schemas.microsoft.com/office/drawing/2014/main" val="1737942961"/>
                    </a:ext>
                  </a:extLst>
                </a:gridCol>
                <a:gridCol w="1420859">
                  <a:extLst>
                    <a:ext uri="{9D8B030D-6E8A-4147-A177-3AD203B41FA5}">
                      <a16:colId xmlns:a16="http://schemas.microsoft.com/office/drawing/2014/main" val="851212279"/>
                    </a:ext>
                  </a:extLst>
                </a:gridCol>
              </a:tblGrid>
              <a:tr h="312609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DE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7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DC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D0D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D7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AE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7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34280507"/>
                  </a:ext>
                </a:extLst>
              </a:tr>
              <a:tr h="312609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EC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6B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CFD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F0F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C8C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0E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F3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67546964"/>
                  </a:ext>
                </a:extLst>
              </a:tr>
              <a:tr h="312609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9E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9B9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8B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F3F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5B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BB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F6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43662560"/>
                  </a:ext>
                </a:extLst>
              </a:tr>
              <a:tr h="312609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C8C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D2D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4E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0E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1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D2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690815"/>
                  </a:ext>
                </a:extLst>
              </a:tr>
              <a:tr h="312609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DE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939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A5A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DF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DC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C0C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BD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50989040"/>
                  </a:ext>
                </a:extLst>
              </a:tr>
              <a:tr h="312609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F8F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8B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C6C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F5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DB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FE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8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3770280"/>
                  </a:ext>
                </a:extLst>
              </a:tr>
              <a:tr h="312609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AAA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82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4B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F1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B6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D0D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F6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2092128"/>
                  </a:ext>
                </a:extLst>
              </a:tr>
              <a:tr h="312609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0E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B0B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A8A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F7F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949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D2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68540434"/>
                  </a:ext>
                </a:extLst>
              </a:tr>
              <a:tr h="312609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AD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7D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99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CB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919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A0A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D0D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2293302"/>
                  </a:ext>
                </a:extLst>
              </a:tr>
              <a:tr h="312609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F6F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C7C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CAC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CCC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8B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A7A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0E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2536844"/>
                  </a:ext>
                </a:extLst>
              </a:tr>
              <a:tr h="312609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ABA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959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7B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8B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C7C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C4C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C5C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539759"/>
                  </a:ext>
                </a:extLst>
              </a:tr>
              <a:tr h="312609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E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8A8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9C9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7A7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8F9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9EA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60294286"/>
                  </a:ext>
                </a:extLst>
              </a:tr>
              <a:tr h="312609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AE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7E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7B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80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898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868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8A8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4597345"/>
                  </a:ext>
                </a:extLst>
              </a:tr>
              <a:tr h="312609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CAC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757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9B9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D5D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7F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A5A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C1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23691056"/>
                  </a:ext>
                </a:extLst>
              </a:tr>
              <a:tr h="312609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D3D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9B9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2B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7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B0B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C0C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D3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0337103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2538" y="0"/>
            <a:ext cx="8037065" cy="576000"/>
          </a:xfrm>
        </p:spPr>
        <p:txBody>
          <a:bodyPr/>
          <a:lstStyle/>
          <a:p>
            <a:r>
              <a:rPr lang="cs-CZ" dirty="0"/>
              <a:t>Očkovaní NLZP v nemocnicích akutní lůžkové péče a ZZS</a:t>
            </a:r>
          </a:p>
        </p:txBody>
      </p:sp>
      <p:sp>
        <p:nvSpPr>
          <p:cNvPr id="13" name="Obdélník 12">
            <a:extLst>
              <a:ext uri="{FF2B5EF4-FFF2-40B4-BE49-F238E27FC236}">
                <a16:creationId xmlns:a16="http://schemas.microsoft.com/office/drawing/2014/main" id="{A045BA81-95DE-42BA-99D6-CBB4DCCC5501}"/>
              </a:ext>
            </a:extLst>
          </p:cNvPr>
          <p:cNvSpPr/>
          <p:nvPr/>
        </p:nvSpPr>
        <p:spPr>
          <a:xfrm>
            <a:off x="172060" y="6401765"/>
            <a:ext cx="11753240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sz="1100" dirty="0"/>
              <a:t>Do analýzy jsou zahrnuti pouze zdravotničtí pracovníci nahlášení poskytovateli zdravotnických služeb jako aktuálně zaměstnaní.</a:t>
            </a:r>
          </a:p>
          <a:p>
            <a:pPr algn="ctr"/>
            <a:r>
              <a:rPr lang="cs-CZ" sz="1100" dirty="0"/>
              <a:t>Zdroj: Národní registr zdravotnických pracovníků (NRZP), ÚZIS ČR; Informační systém infekční nemoci (ISIN) </a:t>
            </a:r>
          </a:p>
        </p:txBody>
      </p:sp>
      <p:sp>
        <p:nvSpPr>
          <p:cNvPr id="20" name="TextBox 6">
            <a:extLst>
              <a:ext uri="{FF2B5EF4-FFF2-40B4-BE49-F238E27FC236}">
                <a16:creationId xmlns:a16="http://schemas.microsoft.com/office/drawing/2014/main" id="{0D1107EB-D187-4678-AF28-2A18CAE50957}"/>
              </a:ext>
            </a:extLst>
          </p:cNvPr>
          <p:cNvSpPr txBox="1"/>
          <p:nvPr/>
        </p:nvSpPr>
        <p:spPr>
          <a:xfrm>
            <a:off x="297312" y="614100"/>
            <a:ext cx="19696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400" b="1" dirty="0"/>
              <a:t>Stav k 21. 10. 2021</a:t>
            </a:r>
          </a:p>
        </p:txBody>
      </p:sp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002BA253-3FCF-4619-85EA-CE8807BFEB8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85008425"/>
              </p:ext>
            </p:extLst>
          </p:nvPr>
        </p:nvGraphicFramePr>
        <p:xfrm>
          <a:off x="302889" y="921878"/>
          <a:ext cx="11586222" cy="5215857"/>
        </p:xfrm>
        <a:graphic>
          <a:graphicData uri="http://schemas.openxmlformats.org/drawingml/2006/table">
            <a:tbl>
              <a:tblPr/>
              <a:tblGrid>
                <a:gridCol w="1640944">
                  <a:extLst>
                    <a:ext uri="{9D8B030D-6E8A-4147-A177-3AD203B41FA5}">
                      <a16:colId xmlns:a16="http://schemas.microsoft.com/office/drawing/2014/main" val="974880782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2441195149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2349922488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1048032588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2857566558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2038756237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134387120"/>
                    </a:ext>
                  </a:extLst>
                </a:gridCol>
                <a:gridCol w="1420754">
                  <a:extLst>
                    <a:ext uri="{9D8B030D-6E8A-4147-A177-3AD203B41FA5}">
                      <a16:colId xmlns:a16="http://schemas.microsoft.com/office/drawing/2014/main" val="3794948740"/>
                    </a:ext>
                  </a:extLst>
                </a:gridCol>
              </a:tblGrid>
              <a:tr h="499992">
                <a:tc>
                  <a:txBody>
                    <a:bodyPr/>
                    <a:lstStyle/>
                    <a:p>
                      <a:pPr algn="l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6522" marT="6522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rmaceuti</a:t>
                      </a:r>
                    </a:p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farmaceut, § 19 Farmaceutický asistent)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§ 36 Ošetřovatel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§ 42 Sanitář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§ 18 Zdravotnický záchranář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§ 24 Fyzioterapeut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aboratorní pracovníci *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NLZP</a:t>
                      </a:r>
                    </a:p>
                  </a:txBody>
                  <a:tcPr marL="6522" marR="6522" marT="6522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48253265"/>
                  </a:ext>
                </a:extLst>
              </a:tr>
              <a:tr h="31274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2 (83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5 (82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262 (79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2 (8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7 (82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99 (8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8 (84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79527979"/>
                  </a:ext>
                </a:extLst>
              </a:tr>
              <a:tr h="31274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 (79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5 (78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05 (81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9 (86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9 (8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3 (8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0 (8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3261609"/>
                  </a:ext>
                </a:extLst>
              </a:tr>
              <a:tr h="31274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 (8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 (74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3 (78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0 (8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6 (78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6 (78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4 (8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89404468"/>
                  </a:ext>
                </a:extLst>
              </a:tr>
              <a:tr h="31274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 (8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6 (79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9 (82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2 (8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 (8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1 (8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0 (8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65881402"/>
                  </a:ext>
                </a:extLst>
              </a:tr>
              <a:tr h="31274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(8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 (7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6 (7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 (85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 (79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 (79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 (8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10782105"/>
                  </a:ext>
                </a:extLst>
              </a:tr>
              <a:tr h="31274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9 (87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2 (7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62 (80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6 (8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0 (7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2 (83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4 (8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62802116"/>
                  </a:ext>
                </a:extLst>
              </a:tr>
              <a:tr h="31274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 (75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1 (71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8 (78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2 (8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 (68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2 (82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9 (86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77428449"/>
                  </a:ext>
                </a:extLst>
              </a:tr>
              <a:tr h="31274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 (8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 (77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9 (7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1 (87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 (6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6 (7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 (81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20309455"/>
                  </a:ext>
                </a:extLst>
              </a:tr>
              <a:tr h="31274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 (84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 (70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1 (7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8 (7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 (73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4 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2 (81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11198027"/>
                  </a:ext>
                </a:extLst>
              </a:tr>
              <a:tr h="31274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 (86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 (80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8 (81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1 (80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 (7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9 (76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7 (8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83674140"/>
                  </a:ext>
                </a:extLst>
              </a:tr>
              <a:tr h="31274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7 (7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 (7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280 (78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8 (78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2 (80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27 (79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1 (8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43397029"/>
                  </a:ext>
                </a:extLst>
              </a:tr>
              <a:tr h="31274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 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9 (71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2 (6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1 (74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4 (7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0 (73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5 (74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37693671"/>
                  </a:ext>
                </a:extLst>
              </a:tr>
              <a:tr h="31274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(8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3 (71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8 (70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1 (7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 (7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2 (72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9 (7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907469"/>
                  </a:ext>
                </a:extLst>
              </a:tr>
              <a:tr h="31274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8 (81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1 (69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06 (74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4 (82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7 (70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1 (76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9 (79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710140"/>
                  </a:ext>
                </a:extLst>
              </a:tr>
              <a:tr h="31274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36000" marR="6522" marT="6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036 (82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001 (74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789 (77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680 (8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20 (77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705 (79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370 (82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64919212"/>
                  </a:ext>
                </a:extLst>
              </a:tr>
            </a:tbl>
          </a:graphicData>
        </a:graphic>
      </p:graphicFrame>
      <p:sp>
        <p:nvSpPr>
          <p:cNvPr id="7" name="Obdélník 6">
            <a:extLst>
              <a:ext uri="{FF2B5EF4-FFF2-40B4-BE49-F238E27FC236}">
                <a16:creationId xmlns:a16="http://schemas.microsoft.com/office/drawing/2014/main" id="{EE8DF9DD-84CF-4A37-A410-0264FC601949}"/>
              </a:ext>
            </a:extLst>
          </p:cNvPr>
          <p:cNvSpPr/>
          <p:nvPr/>
        </p:nvSpPr>
        <p:spPr>
          <a:xfrm>
            <a:off x="1476376" y="6151138"/>
            <a:ext cx="10544480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* § 8 Radiologický asistent, § 9 Zdravotní laborant, § 26 Odborný pracovník v laboratorních metodách a v přípravě léčivých přípravků, § 30 Laboratorní asistent, § 41 Autoptický laborant</a:t>
            </a:r>
            <a:endParaRPr lang="cs-CZ" sz="1000" dirty="0"/>
          </a:p>
        </p:txBody>
      </p:sp>
    </p:spTree>
    <p:extLst>
      <p:ext uri="{BB962C8B-B14F-4D97-AF65-F5344CB8AC3E}">
        <p14:creationId xmlns:p14="http://schemas.microsoft.com/office/powerpoint/2010/main" val="344294341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ulka 5">
            <a:extLst>
              <a:ext uri="{FF2B5EF4-FFF2-40B4-BE49-F238E27FC236}">
                <a16:creationId xmlns:a16="http://schemas.microsoft.com/office/drawing/2014/main" id="{3500DA72-5BD7-495E-9771-BFB9F11B610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46738906"/>
              </p:ext>
            </p:extLst>
          </p:nvPr>
        </p:nvGraphicFramePr>
        <p:xfrm>
          <a:off x="2633357" y="1286668"/>
          <a:ext cx="9310995" cy="4726072"/>
        </p:xfrm>
        <a:graphic>
          <a:graphicData uri="http://schemas.openxmlformats.org/drawingml/2006/table">
            <a:tbl>
              <a:tblPr/>
              <a:tblGrid>
                <a:gridCol w="620733">
                  <a:extLst>
                    <a:ext uri="{9D8B030D-6E8A-4147-A177-3AD203B41FA5}">
                      <a16:colId xmlns:a16="http://schemas.microsoft.com/office/drawing/2014/main" val="1489648931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143035450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933162272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2727052834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2377867066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3848741962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698468198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483119413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3166563280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675125944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519701497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3460474647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2284735199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1491392669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615103670"/>
                    </a:ext>
                  </a:extLst>
                </a:gridCol>
              </a:tblGrid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3DF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3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6998359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9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F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D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F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0127853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1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9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17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0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8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D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8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F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95111108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D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C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7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A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1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8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5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77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7856055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E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2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E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2D5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AD8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6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2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5CD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5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3D5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3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A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D9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89093060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2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BD3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2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3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DD8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6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5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4C3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1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8009111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3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F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E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8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7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07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9246154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6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2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4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3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B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E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6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8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A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1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69357423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6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5DF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4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1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0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F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4DF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1E7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55876088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1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4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4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F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2019406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6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9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E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CD8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C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3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8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EA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1206946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50737891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D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8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6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9C9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B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5180749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2538" y="0"/>
            <a:ext cx="8284712" cy="576000"/>
          </a:xfrm>
        </p:spPr>
        <p:txBody>
          <a:bodyPr/>
          <a:lstStyle/>
          <a:p>
            <a:r>
              <a:rPr lang="cs-CZ" dirty="0"/>
              <a:t>Očkovaní lékaři* podle typu zdravotnického zařízení</a:t>
            </a:r>
          </a:p>
        </p:txBody>
      </p:sp>
      <p:sp>
        <p:nvSpPr>
          <p:cNvPr id="20" name="TextBox 6">
            <a:extLst>
              <a:ext uri="{FF2B5EF4-FFF2-40B4-BE49-F238E27FC236}">
                <a16:creationId xmlns:a16="http://schemas.microsoft.com/office/drawing/2014/main" id="{0D1107EB-D187-4678-AF28-2A18CAE50957}"/>
              </a:ext>
            </a:extLst>
          </p:cNvPr>
          <p:cNvSpPr txBox="1"/>
          <p:nvPr/>
        </p:nvSpPr>
        <p:spPr>
          <a:xfrm>
            <a:off x="10001250" y="6540606"/>
            <a:ext cx="20186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400" b="1" dirty="0"/>
              <a:t>Stav k 21. 10. 2021</a:t>
            </a:r>
          </a:p>
        </p:txBody>
      </p:sp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CD48C377-98E3-4540-BFE1-BA921AC0BAE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62396960"/>
              </p:ext>
            </p:extLst>
          </p:nvPr>
        </p:nvGraphicFramePr>
        <p:xfrm>
          <a:off x="192538" y="770856"/>
          <a:ext cx="11751815" cy="5241880"/>
        </p:xfrm>
        <a:graphic>
          <a:graphicData uri="http://schemas.openxmlformats.org/drawingml/2006/table">
            <a:tbl>
              <a:tblPr/>
              <a:tblGrid>
                <a:gridCol w="2438405">
                  <a:extLst>
                    <a:ext uri="{9D8B030D-6E8A-4147-A177-3AD203B41FA5}">
                      <a16:colId xmlns:a16="http://schemas.microsoft.com/office/drawing/2014/main" val="652507569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3477482594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2314989255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1133656534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3707313385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2614584230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3645035601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588882927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2171033188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3922541207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416196272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1768927368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3636322451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3251406687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3054528204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575082524"/>
                    </a:ext>
                  </a:extLst>
                </a:gridCol>
              </a:tblGrid>
              <a:tr h="36390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čkovaných alespoň jednou dávkou (podíl ze všech pracovníků daného povolání)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C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B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YS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M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*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48974545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akutní péč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94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85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5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4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7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9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9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1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3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6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0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11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75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03397526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následné peče a jiná lůžková zařízení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7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67148793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sychiatrické léčeb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45978599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ázeňské léčeb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0681261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praktického lékaře pro dospělé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62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99956148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praktického lékaře pro děti a dorost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8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0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48753742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zubního lékař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78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91169380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gynekologa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4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63463250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lékaře specialist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96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0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87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94938465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pt-B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ambulantní zařízení a laboratoř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15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93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2312617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dravotnická záchranná služba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9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13997440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ékár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24247117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zdravotnická zařízení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7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1</a:t>
                      </a:r>
                      <a:b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05943844"/>
                  </a:ext>
                </a:extLst>
              </a:tr>
            </a:tbl>
          </a:graphicData>
        </a:graphic>
      </p:graphicFrame>
      <p:sp>
        <p:nvSpPr>
          <p:cNvPr id="18" name="Obdélník 17">
            <a:extLst>
              <a:ext uri="{FF2B5EF4-FFF2-40B4-BE49-F238E27FC236}">
                <a16:creationId xmlns:a16="http://schemas.microsoft.com/office/drawing/2014/main" id="{807777C6-243E-41FA-BD00-EE19544600CE}"/>
              </a:ext>
            </a:extLst>
          </p:cNvPr>
          <p:cNvSpPr/>
          <p:nvPr/>
        </p:nvSpPr>
        <p:spPr>
          <a:xfrm>
            <a:off x="119367" y="6013803"/>
            <a:ext cx="11953265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Lékaři včetně zubních lékařů; jedna osoba může pracovat ve více krajích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 analýzy jsou zahrnuti pouze zdravotničtí pracovníci nahlášení poskytovateli zdravotnických služeb jako aktuálně zaměstnaní. Výsledky mohou být ovlivněny úplností hlášení poskytovatelů zdravotních služeb do NRZP (viz příloha).</a:t>
            </a:r>
          </a:p>
        </p:txBody>
      </p:sp>
      <p:sp>
        <p:nvSpPr>
          <p:cNvPr id="21" name="Obdélník 20">
            <a:extLst>
              <a:ext uri="{FF2B5EF4-FFF2-40B4-BE49-F238E27FC236}">
                <a16:creationId xmlns:a16="http://schemas.microsoft.com/office/drawing/2014/main" id="{74028100-6752-4BD6-8757-694F3E498E25}"/>
              </a:ext>
            </a:extLst>
          </p:cNvPr>
          <p:cNvSpPr/>
          <p:nvPr/>
        </p:nvSpPr>
        <p:spPr>
          <a:xfrm>
            <a:off x="172060" y="6573215"/>
            <a:ext cx="1019114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registr zdravotnických pracovníků (NRZP), ÚZIS ČR; Informační systém infekční nemoci (ISIN) </a:t>
            </a:r>
          </a:p>
        </p:txBody>
      </p:sp>
    </p:spTree>
    <p:extLst>
      <p:ext uri="{BB962C8B-B14F-4D97-AF65-F5344CB8AC3E}">
        <p14:creationId xmlns:p14="http://schemas.microsoft.com/office/powerpoint/2010/main" val="221484929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ulka 5">
            <a:extLst>
              <a:ext uri="{FF2B5EF4-FFF2-40B4-BE49-F238E27FC236}">
                <a16:creationId xmlns:a16="http://schemas.microsoft.com/office/drawing/2014/main" id="{1B953EAE-86BE-4C38-9F39-D9885A1934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91777714"/>
              </p:ext>
            </p:extLst>
          </p:nvPr>
        </p:nvGraphicFramePr>
        <p:xfrm>
          <a:off x="2633357" y="1286669"/>
          <a:ext cx="9310995" cy="4726072"/>
        </p:xfrm>
        <a:graphic>
          <a:graphicData uri="http://schemas.openxmlformats.org/drawingml/2006/table">
            <a:tbl>
              <a:tblPr/>
              <a:tblGrid>
                <a:gridCol w="620733">
                  <a:extLst>
                    <a:ext uri="{9D8B030D-6E8A-4147-A177-3AD203B41FA5}">
                      <a16:colId xmlns:a16="http://schemas.microsoft.com/office/drawing/2014/main" val="2482322234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1476117606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3941530378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3863831481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2801120267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3148574066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2275133578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2685175499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544592204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582500748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1757105868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3330339193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1210016381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2901766872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2723508720"/>
                    </a:ext>
                  </a:extLst>
                </a:gridCol>
              </a:tblGrid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8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D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E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7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B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21806771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6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3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7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3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5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F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F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A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2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9418809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2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B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D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4C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F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8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F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B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2289720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9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5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ECF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E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FD0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3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D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47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6441236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3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CD4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3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9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1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B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5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3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5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7DB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91062351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A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1D5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E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5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8CE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7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DD4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FD4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3DF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1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ADC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3900894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0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E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B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8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0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8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9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6176359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3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1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0CB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6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5CD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A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FE7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0695558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7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6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1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A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1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78869148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6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4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0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6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1034114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C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5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5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6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A7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1D5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BE5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9152610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2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8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2DE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1310502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1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CD3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6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4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4DF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8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1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99475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2538" y="0"/>
            <a:ext cx="8284712" cy="576000"/>
          </a:xfrm>
        </p:spPr>
        <p:txBody>
          <a:bodyPr/>
          <a:lstStyle/>
          <a:p>
            <a:r>
              <a:rPr lang="cs-CZ" dirty="0"/>
              <a:t>Očkované sestry* podle typu zdravotnického zařízení</a:t>
            </a:r>
          </a:p>
        </p:txBody>
      </p:sp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CD48C377-98E3-4540-BFE1-BA921AC0BAE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86314670"/>
              </p:ext>
            </p:extLst>
          </p:nvPr>
        </p:nvGraphicFramePr>
        <p:xfrm>
          <a:off x="192538" y="770856"/>
          <a:ext cx="11751815" cy="5241880"/>
        </p:xfrm>
        <a:graphic>
          <a:graphicData uri="http://schemas.openxmlformats.org/drawingml/2006/table">
            <a:tbl>
              <a:tblPr/>
              <a:tblGrid>
                <a:gridCol w="2438405">
                  <a:extLst>
                    <a:ext uri="{9D8B030D-6E8A-4147-A177-3AD203B41FA5}">
                      <a16:colId xmlns:a16="http://schemas.microsoft.com/office/drawing/2014/main" val="652507569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3477482594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2314989255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1133656534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3707313385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2614584230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3645035601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588882927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2171033188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3922541207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416196272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1768927368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3636322451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3251406687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3054528204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575082524"/>
                    </a:ext>
                  </a:extLst>
                </a:gridCol>
              </a:tblGrid>
              <a:tr h="36390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čkovaných alespoň jednou dávkou (podíl ze všech pracovníků daného povolání)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C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B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YS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M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*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48974545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akutní péč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72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61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98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85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7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73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18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15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99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2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60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0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43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91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 45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03397526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následné peče a jiná lůžková zařízení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8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8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9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7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40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67148793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sychiatrické léčeb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4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49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45978599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ázeňské léčeb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6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4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0681261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praktického lékaře pro dospělé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13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99956148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praktického lékaře pro děti a dorost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2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3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9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48753742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zubního lékař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8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6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35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91169380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gynekologa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4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63463250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lékaře specialist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9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13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94938465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pt-B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ambulantní zařízení a laboratoř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73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7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7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8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9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82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2312617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dravotnická záchranná služba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8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13997440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ékár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24247117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zdravotnická zařízení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1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8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9</a:t>
                      </a:r>
                      <a:b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05943844"/>
                  </a:ext>
                </a:extLst>
              </a:tr>
            </a:tbl>
          </a:graphicData>
        </a:graphic>
      </p:graphicFrame>
      <p:sp>
        <p:nvSpPr>
          <p:cNvPr id="18" name="Obdélník 17">
            <a:extLst>
              <a:ext uri="{FF2B5EF4-FFF2-40B4-BE49-F238E27FC236}">
                <a16:creationId xmlns:a16="http://schemas.microsoft.com/office/drawing/2014/main" id="{807777C6-243E-41FA-BD00-EE19544600CE}"/>
              </a:ext>
            </a:extLst>
          </p:cNvPr>
          <p:cNvSpPr/>
          <p:nvPr/>
        </p:nvSpPr>
        <p:spPr>
          <a:xfrm>
            <a:off x="119367" y="6013803"/>
            <a:ext cx="11953265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§ 5 Všeobecná sestra, § 5a Dětská sestra, § 6 Porodní asistentka, § 21b Praktická sestra; jedna osoba může pracovat ve více krajích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 analýzy jsou zahrnuti pouze zdravotničtí pracovníci nahlášení poskytovateli zdravotnických služeb jako aktuálně zaměstnaní. Výsledky mohou být ovlivněny úplností hlášení poskytovatelů zdravotních služeb do NRZP (viz příloha).</a:t>
            </a:r>
          </a:p>
        </p:txBody>
      </p:sp>
      <p:sp>
        <p:nvSpPr>
          <p:cNvPr id="21" name="Obdélník 20">
            <a:extLst>
              <a:ext uri="{FF2B5EF4-FFF2-40B4-BE49-F238E27FC236}">
                <a16:creationId xmlns:a16="http://schemas.microsoft.com/office/drawing/2014/main" id="{74028100-6752-4BD6-8757-694F3E498E25}"/>
              </a:ext>
            </a:extLst>
          </p:cNvPr>
          <p:cNvSpPr/>
          <p:nvPr/>
        </p:nvSpPr>
        <p:spPr>
          <a:xfrm>
            <a:off x="172060" y="6573215"/>
            <a:ext cx="1019114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registr zdravotnických pracovníků (NRZP), ÚZIS ČR; Informační systém infekční nemoci (ISIN) </a:t>
            </a:r>
          </a:p>
        </p:txBody>
      </p:sp>
      <p:sp>
        <p:nvSpPr>
          <p:cNvPr id="8" name="TextBox 6">
            <a:extLst>
              <a:ext uri="{FF2B5EF4-FFF2-40B4-BE49-F238E27FC236}">
                <a16:creationId xmlns:a16="http://schemas.microsoft.com/office/drawing/2014/main" id="{84106919-22D4-457C-99C9-E31FF51544E0}"/>
              </a:ext>
            </a:extLst>
          </p:cNvPr>
          <p:cNvSpPr txBox="1"/>
          <p:nvPr/>
        </p:nvSpPr>
        <p:spPr>
          <a:xfrm>
            <a:off x="10001250" y="6540606"/>
            <a:ext cx="20186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400" b="1" dirty="0"/>
              <a:t>Stav k 21. 10. 2021</a:t>
            </a:r>
          </a:p>
        </p:txBody>
      </p:sp>
    </p:spTree>
    <p:extLst>
      <p:ext uri="{BB962C8B-B14F-4D97-AF65-F5344CB8AC3E}">
        <p14:creationId xmlns:p14="http://schemas.microsoft.com/office/powerpoint/2010/main" val="348709238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ání zdravotnických pracovníků </a:t>
            </a:r>
          </a:p>
        </p:txBody>
      </p:sp>
      <p:sp>
        <p:nvSpPr>
          <p:cNvPr id="25" name="Obdélník 24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525881" y="1293212"/>
            <a:ext cx="11096625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 aktuálně aktivně působících zdravotnických pracovníků má alespoň 1. dávku vakcinace 86 % lékařů, 79 % sesterských povolání a 76 % ostatních zdravotnických povolání. </a:t>
            </a:r>
          </a:p>
        </p:txBody>
      </p:sp>
      <p:sp>
        <p:nvSpPr>
          <p:cNvPr id="9" name="Šipka dolů 8"/>
          <p:cNvSpPr/>
          <p:nvPr/>
        </p:nvSpPr>
        <p:spPr>
          <a:xfrm>
            <a:off x="5270203" y="3009764"/>
            <a:ext cx="1164566" cy="48310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7B7EAFED-3EEF-49DD-829E-67841604FA64}"/>
              </a:ext>
            </a:extLst>
          </p:cNvPr>
          <p:cNvSpPr/>
          <p:nvPr/>
        </p:nvSpPr>
        <p:spPr>
          <a:xfrm>
            <a:off x="257785" y="3706342"/>
            <a:ext cx="11189401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čkování v těchto profesních kategoriích podstatně snížilo denní počet registrovaných nových nákaz  </a:t>
            </a:r>
          </a:p>
        </p:txBody>
      </p:sp>
      <p:sp>
        <p:nvSpPr>
          <p:cNvPr id="11" name="Šipka dolů 10"/>
          <p:cNvSpPr/>
          <p:nvPr/>
        </p:nvSpPr>
        <p:spPr>
          <a:xfrm>
            <a:off x="5270203" y="5077313"/>
            <a:ext cx="1164566" cy="48310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8233332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8B397B5F-A411-4D2F-BF65-69DDADBB64B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2325683"/>
              </p:ext>
            </p:extLst>
          </p:nvPr>
        </p:nvGraphicFramePr>
        <p:xfrm>
          <a:off x="2633357" y="1286669"/>
          <a:ext cx="9310995" cy="4726072"/>
        </p:xfrm>
        <a:graphic>
          <a:graphicData uri="http://schemas.openxmlformats.org/drawingml/2006/table">
            <a:tbl>
              <a:tblPr/>
              <a:tblGrid>
                <a:gridCol w="620733">
                  <a:extLst>
                    <a:ext uri="{9D8B030D-6E8A-4147-A177-3AD203B41FA5}">
                      <a16:colId xmlns:a16="http://schemas.microsoft.com/office/drawing/2014/main" val="865146625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222617364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3840029470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1145732875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1492304662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2136640849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2008956454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660748020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2779149301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599795683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1219769550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206820109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3964868159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4035713288"/>
                    </a:ext>
                  </a:extLst>
                </a:gridCol>
                <a:gridCol w="620733">
                  <a:extLst>
                    <a:ext uri="{9D8B030D-6E8A-4147-A177-3AD203B41FA5}">
                      <a16:colId xmlns:a16="http://schemas.microsoft.com/office/drawing/2014/main" val="2488397691"/>
                    </a:ext>
                  </a:extLst>
                </a:gridCol>
              </a:tblGrid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A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C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7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4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1E7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2552673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F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6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4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5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B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D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5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3315776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E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1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1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3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E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F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CE6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6188610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9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D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5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8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BD3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A4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9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1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7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3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C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A7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4205780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3DA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1D0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5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2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7C9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9CE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3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3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ECF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CD8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9073100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1D0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B7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0E2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4972589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8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F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F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C5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D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3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B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6753287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6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5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BD3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7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3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E4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01732485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7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8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0971188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7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8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D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A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0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5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18864010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A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AD3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5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E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BD8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4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0D5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D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A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6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2DA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57396226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1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6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D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5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854519"/>
                  </a:ext>
                </a:extLst>
              </a:tr>
              <a:tr h="363544"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8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E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B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3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E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1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6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9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E8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17855938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2538" y="0"/>
            <a:ext cx="8284712" cy="576000"/>
          </a:xfrm>
        </p:spPr>
        <p:txBody>
          <a:bodyPr/>
          <a:lstStyle/>
          <a:p>
            <a:r>
              <a:rPr lang="cs-CZ" dirty="0"/>
              <a:t>Očkovaní ostatní ZP* podle typu zdravotnického zařízení</a:t>
            </a:r>
          </a:p>
        </p:txBody>
      </p:sp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CD48C377-98E3-4540-BFE1-BA921AC0BAE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38201920"/>
              </p:ext>
            </p:extLst>
          </p:nvPr>
        </p:nvGraphicFramePr>
        <p:xfrm>
          <a:off x="192538" y="770856"/>
          <a:ext cx="11751815" cy="5241880"/>
        </p:xfrm>
        <a:graphic>
          <a:graphicData uri="http://schemas.openxmlformats.org/drawingml/2006/table">
            <a:tbl>
              <a:tblPr/>
              <a:tblGrid>
                <a:gridCol w="2438405">
                  <a:extLst>
                    <a:ext uri="{9D8B030D-6E8A-4147-A177-3AD203B41FA5}">
                      <a16:colId xmlns:a16="http://schemas.microsoft.com/office/drawing/2014/main" val="652507569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3477482594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2314989255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1133656534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3707313385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2614584230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3645035601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588882927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2171033188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3922541207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416196272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1768927368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3636322451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3251406687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3054528204"/>
                    </a:ext>
                  </a:extLst>
                </a:gridCol>
                <a:gridCol w="620894">
                  <a:extLst>
                    <a:ext uri="{9D8B030D-6E8A-4147-A177-3AD203B41FA5}">
                      <a16:colId xmlns:a16="http://schemas.microsoft.com/office/drawing/2014/main" val="575082524"/>
                    </a:ext>
                  </a:extLst>
                </a:gridCol>
              </a:tblGrid>
              <a:tr h="43441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čkovaných alespoň jednou dávkou (podíl ze všech pracovníků daného povolání)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C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B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YS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M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K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*</a:t>
                      </a:r>
                    </a:p>
                  </a:txBody>
                  <a:tcPr marL="826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48974545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akutní péč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44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16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8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13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4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0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0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3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9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71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95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0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98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 32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03397526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následné peče a jiná lůžková zařízení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4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3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5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10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67148793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sychiatrické léčeb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01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45978599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ázeňské léčeb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2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4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9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8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0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5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5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0681261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praktického lékaře pro dospělé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2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4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99956148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praktického lékaře pro děti a dorost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48753742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zubního lékař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9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5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52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91169380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gynekologa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8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3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63463250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lékaře specialist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2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5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4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04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94938465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pt-B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ambulantní zařízení a laboratoře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90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8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8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6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08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2312617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dravotnická záchranná služba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9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0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8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7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41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5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13997440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ékárny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6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8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5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6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1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1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253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24247117"/>
                  </a:ext>
                </a:extLst>
              </a:tr>
              <a:tr h="36390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zdravotnická zařízení</a:t>
                      </a:r>
                    </a:p>
                  </a:txBody>
                  <a:tcPr marL="36000" marR="8260" marT="82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5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1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4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8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0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2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7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4</a:t>
                      </a:r>
                      <a:b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765</a:t>
                      </a:r>
                      <a:b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05943844"/>
                  </a:ext>
                </a:extLst>
              </a:tr>
            </a:tbl>
          </a:graphicData>
        </a:graphic>
      </p:graphicFrame>
      <p:sp>
        <p:nvSpPr>
          <p:cNvPr id="18" name="Obdélník 17">
            <a:extLst>
              <a:ext uri="{FF2B5EF4-FFF2-40B4-BE49-F238E27FC236}">
                <a16:creationId xmlns:a16="http://schemas.microsoft.com/office/drawing/2014/main" id="{807777C6-243E-41FA-BD00-EE19544600CE}"/>
              </a:ext>
            </a:extLst>
          </p:cNvPr>
          <p:cNvSpPr/>
          <p:nvPr/>
        </p:nvSpPr>
        <p:spPr>
          <a:xfrm>
            <a:off x="119367" y="6013803"/>
            <a:ext cx="11953265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NLZP § 7 až § 42 kromě § 21b, farmaceuti; jedna osoba může pracovat ve více krajích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 analýzy jsou zahrnuti pouze zdravotničtí pracovníci nahlášení poskytovateli zdravotnických služeb jako aktuálně zaměstnaní. Výsledky mohou být ovlivněny úplností hlášení poskytovatelů zdravotních služeb do NRZP (viz příloha).</a:t>
            </a:r>
          </a:p>
        </p:txBody>
      </p:sp>
      <p:sp>
        <p:nvSpPr>
          <p:cNvPr id="21" name="Obdélník 20">
            <a:extLst>
              <a:ext uri="{FF2B5EF4-FFF2-40B4-BE49-F238E27FC236}">
                <a16:creationId xmlns:a16="http://schemas.microsoft.com/office/drawing/2014/main" id="{74028100-6752-4BD6-8757-694F3E498E25}"/>
              </a:ext>
            </a:extLst>
          </p:cNvPr>
          <p:cNvSpPr/>
          <p:nvPr/>
        </p:nvSpPr>
        <p:spPr>
          <a:xfrm>
            <a:off x="172060" y="6573215"/>
            <a:ext cx="1019114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registr zdravotnických pracovníků (NRZP), ÚZIS ČR; Informační systém infekční nemoci (ISIN) </a:t>
            </a:r>
          </a:p>
        </p:txBody>
      </p:sp>
      <p:sp>
        <p:nvSpPr>
          <p:cNvPr id="8" name="TextBox 6">
            <a:extLst>
              <a:ext uri="{FF2B5EF4-FFF2-40B4-BE49-F238E27FC236}">
                <a16:creationId xmlns:a16="http://schemas.microsoft.com/office/drawing/2014/main" id="{B0F94392-FC1C-4255-BDF5-17C9BB30C09D}"/>
              </a:ext>
            </a:extLst>
          </p:cNvPr>
          <p:cNvSpPr txBox="1"/>
          <p:nvPr/>
        </p:nvSpPr>
        <p:spPr>
          <a:xfrm>
            <a:off x="10001250" y="6540606"/>
            <a:ext cx="20186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400" b="1" dirty="0"/>
              <a:t>Stav k 21. 10. 2021</a:t>
            </a:r>
          </a:p>
        </p:txBody>
      </p:sp>
    </p:spTree>
    <p:extLst>
      <p:ext uri="{BB962C8B-B14F-4D97-AF65-F5344CB8AC3E}">
        <p14:creationId xmlns:p14="http://schemas.microsoft.com/office/powerpoint/2010/main" val="280527864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zdravotničtí pracovníci celkem</a:t>
            </a:r>
          </a:p>
        </p:txBody>
      </p:sp>
      <p:graphicFrame>
        <p:nvGraphicFramePr>
          <p:cNvPr id="3" name="Tabulka 2">
            <a:extLst>
              <a:ext uri="{FF2B5EF4-FFF2-40B4-BE49-F238E27FC236}">
                <a16:creationId xmlns:a16="http://schemas.microsoft.com/office/drawing/2014/main" id="{0C428FC5-EA14-48AE-B731-D5EA9FEB981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09249487"/>
              </p:ext>
            </p:extLst>
          </p:nvPr>
        </p:nvGraphicFramePr>
        <p:xfrm>
          <a:off x="356585" y="1390934"/>
          <a:ext cx="11149615" cy="4296106"/>
        </p:xfrm>
        <a:graphic>
          <a:graphicData uri="http://schemas.openxmlformats.org/drawingml/2006/table">
            <a:tbl>
              <a:tblPr firstRow="1" lastRow="1" bandRow="1">
                <a:tableStyleId>{5C22544A-7EE6-4342-B048-85BDC9FD1C3A}</a:tableStyleId>
              </a:tblPr>
              <a:tblGrid>
                <a:gridCol w="4823702">
                  <a:extLst>
                    <a:ext uri="{9D8B030D-6E8A-4147-A177-3AD203B41FA5}">
                      <a16:colId xmlns:a16="http://schemas.microsoft.com/office/drawing/2014/main" val="2651665098"/>
                    </a:ext>
                  </a:extLst>
                </a:gridCol>
                <a:gridCol w="2338725">
                  <a:extLst>
                    <a:ext uri="{9D8B030D-6E8A-4147-A177-3AD203B41FA5}">
                      <a16:colId xmlns:a16="http://schemas.microsoft.com/office/drawing/2014/main" val="3939455336"/>
                    </a:ext>
                  </a:extLst>
                </a:gridCol>
                <a:gridCol w="1993594">
                  <a:extLst>
                    <a:ext uri="{9D8B030D-6E8A-4147-A177-3AD203B41FA5}">
                      <a16:colId xmlns:a16="http://schemas.microsoft.com/office/drawing/2014/main" val="2226907532"/>
                    </a:ext>
                  </a:extLst>
                </a:gridCol>
                <a:gridCol w="1993594">
                  <a:extLst>
                    <a:ext uri="{9D8B030D-6E8A-4147-A177-3AD203B41FA5}">
                      <a16:colId xmlns:a16="http://schemas.microsoft.com/office/drawing/2014/main" val="2183727549"/>
                    </a:ext>
                  </a:extLst>
                </a:gridCol>
              </a:tblGrid>
              <a:tr h="992626">
                <a:tc>
                  <a:txBody>
                    <a:bodyPr/>
                    <a:lstStyle/>
                    <a:p>
                      <a:pPr algn="l" fontAlgn="ctr"/>
                      <a:r>
                        <a:rPr lang="cs-CZ" dirty="0"/>
                        <a:t>Zdravotničtí pracovníci </a:t>
                      </a:r>
                    </a:p>
                    <a:p>
                      <a:pPr algn="l" fontAlgn="ctr"/>
                      <a:r>
                        <a:rPr lang="cs-CZ" dirty="0"/>
                        <a:t>evidovaní v NZIS*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 dirty="0">
                          <a:effectLst/>
                        </a:rPr>
                        <a:t>Celkový počet zdravotnických pracovníků**</a:t>
                      </a:r>
                      <a:endParaRPr lang="cs-CZ" sz="18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u="none" strike="noStrike" dirty="0">
                          <a:effectLst/>
                        </a:rPr>
                        <a:t>Počet očkovaných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u="none" strike="noStrike">
                          <a:effectLst/>
                        </a:rPr>
                        <a:t>Podíl očkovaných</a:t>
                      </a:r>
                      <a:endParaRPr lang="cs-CZ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3304470326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Lékaři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včetně zubních lékařů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 71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 69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,7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1230907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Sestry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§ 5 Všeobecná sestra, § 5a Dětská sestra,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§ 6 Porodní asistentka, § 21b Praktická sestra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8 22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2 03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,6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12447989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Ostatní zdravotničtí pracovníci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NLZP § 7 až § 42 kromě § 21b, farmaceuti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8 32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8 42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,2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18325100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u="none" strike="noStrike" dirty="0">
                          <a:effectLst/>
                        </a:rPr>
                        <a:t>CELKEM</a:t>
                      </a:r>
                      <a:endParaRPr lang="cs-CZ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364 25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66 15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73,1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34177443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0D1107EB-D187-4678-AF28-2A18CAE50957}"/>
              </a:ext>
            </a:extLst>
          </p:cNvPr>
          <p:cNvSpPr txBox="1"/>
          <p:nvPr/>
        </p:nvSpPr>
        <p:spPr>
          <a:xfrm>
            <a:off x="6096000" y="125783"/>
            <a:ext cx="20097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21. 10. 2021</a:t>
            </a:r>
          </a:p>
        </p:txBody>
      </p:sp>
      <p:sp>
        <p:nvSpPr>
          <p:cNvPr id="8" name="Obdélník 7">
            <a:extLst>
              <a:ext uri="{FF2B5EF4-FFF2-40B4-BE49-F238E27FC236}">
                <a16:creationId xmlns:a16="http://schemas.microsoft.com/office/drawing/2014/main" id="{C6F37292-6D98-4BA4-B894-BD354102F974}"/>
              </a:ext>
            </a:extLst>
          </p:cNvPr>
          <p:cNvSpPr/>
          <p:nvPr/>
        </p:nvSpPr>
        <p:spPr>
          <a:xfrm>
            <a:off x="330707" y="5686170"/>
            <a:ext cx="11454102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Zákon č. 96/2004 Sb. o podmínkách získávání a uznávání způsobilosti k výkonu nelékařských zdravotnických povolání a k výkonu činnosti souvisejících s poskytováním zdravotní péče a o změně některých souvisejících zákonů (zákon o nelékařských zdravotnických povoláních); Zákona č. 95/2004 Sb. o podmínkách získávání a uznávání odborné způsobilosti a specializované způsobilosti k výkonu zdravotnického povolání lékaře, zubního lékaře a farmaceuta.</a:t>
            </a:r>
          </a:p>
          <a:p>
            <a:pPr lvl="0"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* Počet zdravotnických pracovníků </a:t>
            </a:r>
            <a:r>
              <a:rPr lang="cs-CZ" sz="1100" dirty="0">
                <a:solidFill>
                  <a:srgbClr val="000000"/>
                </a:solidFill>
              </a:rPr>
              <a:t>evidovaných v NZIS (Národní registr zdravotnických pracovníků – NRZP)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</a:t>
            </a:r>
          </a:p>
        </p:txBody>
      </p:sp>
      <p:sp>
        <p:nvSpPr>
          <p:cNvPr id="4" name="TextovéPole 3"/>
          <p:cNvSpPr txBox="1"/>
          <p:nvPr/>
        </p:nvSpPr>
        <p:spPr>
          <a:xfrm>
            <a:off x="255987" y="618549"/>
            <a:ext cx="1169788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Počet zdravotnických pracovníků (ZP) dle hlášení povinných subjektů do NRZP** (vzdělávací instituce, poskytovatelé). Celkový počet ZP zahrnuje osoby s odpovídající odbornou způsobilostí pro výkony ZP* a žijící k danému datu. Tabulka tedy nereflektuje, zda daný ZP skutečně vykonává zdravotnické povolání v ČR. Zahrnuti jsou i ZP v seniorním, důchodovém, věku. 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60C7B47A-DD4D-4AD1-9492-34EAE5D35895}"/>
              </a:ext>
            </a:extLst>
          </p:cNvPr>
          <p:cNvSpPr/>
          <p:nvPr/>
        </p:nvSpPr>
        <p:spPr>
          <a:xfrm>
            <a:off x="1733551" y="6575571"/>
            <a:ext cx="828039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</p:spTree>
    <p:extLst>
      <p:ext uri="{BB962C8B-B14F-4D97-AF65-F5344CB8AC3E}">
        <p14:creationId xmlns:p14="http://schemas.microsoft.com/office/powerpoint/2010/main" val="36990047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sz="1800" dirty="0"/>
              <a:t>Očkování zdravotnických pracovníků – počty očkovaných v čase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35D0792-DA3D-4697-90DD-E7E191A14A9B}"/>
              </a:ext>
            </a:extLst>
          </p:cNvPr>
          <p:cNvSpPr txBox="1"/>
          <p:nvPr/>
        </p:nvSpPr>
        <p:spPr>
          <a:xfrm rot="16200000">
            <a:off x="-2049215" y="2820163"/>
            <a:ext cx="468180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umulativní počet očkovaných (alespoň první dávka)</a:t>
            </a:r>
          </a:p>
        </p:txBody>
      </p:sp>
      <p:graphicFrame>
        <p:nvGraphicFramePr>
          <p:cNvPr id="9" name="Graf 8">
            <a:extLst>
              <a:ext uri="{FF2B5EF4-FFF2-40B4-BE49-F238E27FC236}">
                <a16:creationId xmlns:a16="http://schemas.microsoft.com/office/drawing/2014/main" id="{FDFE61B8-F449-4A66-9A16-364371C6A084}"/>
              </a:ext>
            </a:extLst>
          </p:cNvPr>
          <p:cNvGraphicFramePr/>
          <p:nvPr/>
        </p:nvGraphicFramePr>
        <p:xfrm>
          <a:off x="561974" y="759913"/>
          <a:ext cx="11377929" cy="49881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1" name="Tabulka 10">
            <a:extLst>
              <a:ext uri="{FF2B5EF4-FFF2-40B4-BE49-F238E27FC236}">
                <a16:creationId xmlns:a16="http://schemas.microsoft.com/office/drawing/2014/main" id="{35619201-FB04-4641-AC77-14154175A615}"/>
              </a:ext>
            </a:extLst>
          </p:cNvPr>
          <p:cNvGraphicFramePr>
            <a:graphicFrameLocks noGrp="1"/>
          </p:cNvGraphicFramePr>
          <p:nvPr/>
        </p:nvGraphicFramePr>
        <p:xfrm>
          <a:off x="10344150" y="2181222"/>
          <a:ext cx="1595753" cy="2352680"/>
        </p:xfrm>
        <a:graphic>
          <a:graphicData uri="http://schemas.openxmlformats.org/drawingml/2006/table">
            <a:tbl>
              <a:tblPr/>
              <a:tblGrid>
                <a:gridCol w="994535">
                  <a:extLst>
                    <a:ext uri="{9D8B030D-6E8A-4147-A177-3AD203B41FA5}">
                      <a16:colId xmlns:a16="http://schemas.microsoft.com/office/drawing/2014/main" val="2493138386"/>
                    </a:ext>
                  </a:extLst>
                </a:gridCol>
                <a:gridCol w="601218">
                  <a:extLst>
                    <a:ext uri="{9D8B030D-6E8A-4147-A177-3AD203B41FA5}">
                      <a16:colId xmlns:a16="http://schemas.microsoft.com/office/drawing/2014/main" val="477226283"/>
                    </a:ext>
                  </a:extLst>
                </a:gridCol>
              </a:tblGrid>
              <a:tr h="5881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P celkem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6 1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1664348"/>
                  </a:ext>
                </a:extLst>
              </a:tr>
              <a:tr h="5881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estry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2 0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0816711"/>
                  </a:ext>
                </a:extLst>
              </a:tr>
              <a:tr h="5881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statní ZP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8 4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1517692"/>
                  </a:ext>
                </a:extLst>
              </a:tr>
              <a:tr h="5881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ékaři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 69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161812"/>
                  </a:ext>
                </a:extLst>
              </a:tr>
            </a:tbl>
          </a:graphicData>
        </a:graphic>
      </p:graphicFrame>
      <p:sp>
        <p:nvSpPr>
          <p:cNvPr id="7" name="Obdélník 6">
            <a:extLst>
              <a:ext uri="{FF2B5EF4-FFF2-40B4-BE49-F238E27FC236}">
                <a16:creationId xmlns:a16="http://schemas.microsoft.com/office/drawing/2014/main" id="{25C2658B-5F4D-4E25-809A-B07FC20B8E8A}"/>
              </a:ext>
            </a:extLst>
          </p:cNvPr>
          <p:cNvSpPr/>
          <p:nvPr/>
        </p:nvSpPr>
        <p:spPr>
          <a:xfrm>
            <a:off x="1752601" y="6566046"/>
            <a:ext cx="828039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70397ABA-C686-444D-9A37-CA5AF71FAD64}"/>
              </a:ext>
            </a:extLst>
          </p:cNvPr>
          <p:cNvSpPr txBox="1"/>
          <p:nvPr/>
        </p:nvSpPr>
        <p:spPr>
          <a:xfrm>
            <a:off x="257785" y="5774033"/>
            <a:ext cx="11800865" cy="8463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100" dirty="0"/>
              <a:t>Zahrnuty jsou zdravotničtí pracovníci (ZP) podle hlášení povinných subjektů do NRZP (vzdělávací instituce, poskytovatelé). Celkový počet ZP zahrnuje osoby s odpovídající odbornou způsobilostí pro výkony povolání ZP* žijící k danému datu. Výstup nezohledňuje, zda daný ZP skutečně vykonává dané povolání v ČR. Zahrnuti jsou i ZP v seniorním, důchodovém, věku.</a:t>
            </a:r>
          </a:p>
          <a:p>
            <a:r>
              <a:rPr lang="cs-CZ" sz="900" dirty="0"/>
              <a:t>* Zákon č. 96/2004 Sb. o podmínkách získávání a uznávání způsobilosti k výkonu nelékařských zdravotnických povolání a k výkonu činnosti souvisejících s poskytováním zdravotní péče a o změně některých souvisejících zákonů (zákon o nelékařských zdravotnických povoláních); Zákona č. 95/2004 Sb. o podmínkách získávání a uznávání odborné způsobilosti a specializované způsobilosti k výkonu zdravotnického povolání lékaře, zubního lékaře a farmaceuta.</a:t>
            </a:r>
          </a:p>
        </p:txBody>
      </p:sp>
    </p:spTree>
    <p:extLst>
      <p:ext uri="{BB962C8B-B14F-4D97-AF65-F5344CB8AC3E}">
        <p14:creationId xmlns:p14="http://schemas.microsoft.com/office/powerpoint/2010/main" val="56333894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</a:t>
            </a:r>
            <a:r>
              <a:rPr lang="cs-CZ" u="sng" dirty="0"/>
              <a:t>aktivní</a:t>
            </a:r>
            <a:r>
              <a:rPr lang="cs-CZ" dirty="0"/>
              <a:t> zdravotničtí pracovníci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B5F8F24A-407C-46C2-BF8F-7094A798CF34}"/>
              </a:ext>
            </a:extLst>
          </p:cNvPr>
          <p:cNvSpPr/>
          <p:nvPr/>
        </p:nvSpPr>
        <p:spPr>
          <a:xfrm>
            <a:off x="331021" y="5689889"/>
            <a:ext cx="11454102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Zákon č. 96/2004 Sb. o podmínkách získávání a uznávání způsobilosti k výkonu nelékařských zdravotnických povolání a k výkonu činnosti souvisejících s poskytováním zdravotní péče a o změně některých souvisejících zákonů (zákon o nelékařských zdravotnických povoláních); Zákona č. 95/2004 Sb. o podmínkách získávání a uznávání odborné způsobilosti a specializované způsobilosti k výkonu zdravotnického povolání lékaře, zubního lékaře a farmaceuta.</a:t>
            </a:r>
          </a:p>
          <a:p>
            <a:pPr>
              <a:defRPr/>
            </a:pPr>
            <a:r>
              <a:rPr lang="cs-CZ" sz="1100" dirty="0">
                <a:solidFill>
                  <a:srgbClr val="000000"/>
                </a:solidFill>
              </a:rPr>
              <a:t>** Počet zdravotnických pracovníků nahlášených do NZIS (Národní registr zdravotnických pracovníků – NRZP) poskytovateli zdravotních služeb jako aktivní v období od 1.9.2021 do současnosti.</a:t>
            </a:r>
          </a:p>
        </p:txBody>
      </p:sp>
      <p:sp>
        <p:nvSpPr>
          <p:cNvPr id="8" name="TextovéPole 7"/>
          <p:cNvSpPr txBox="1"/>
          <p:nvPr/>
        </p:nvSpPr>
        <p:spPr>
          <a:xfrm>
            <a:off x="309541" y="621246"/>
            <a:ext cx="1156130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Počet zdravotnických pracovníků (ZP) dle hlášení povinných subjektů do NRZP** (vzdělávací instituce, poskytovatelé). Celkový počet ZP zahrnuje osoby s odpovídající odbornou způsobilostí pro výkony ZP* a žijící k danému datu. V této analýze jsou zahrnuti ZP, u kterých poskytovatelé zdravotních služeb nahlásili jejich aktivní výkon zaměstnání (v ambulantním sektoru mohou být tyto počty mírně nedohlášené). </a:t>
            </a:r>
          </a:p>
        </p:txBody>
      </p:sp>
      <p:sp>
        <p:nvSpPr>
          <p:cNvPr id="12" name="TextBox 6">
            <a:extLst>
              <a:ext uri="{FF2B5EF4-FFF2-40B4-BE49-F238E27FC236}">
                <a16:creationId xmlns:a16="http://schemas.microsoft.com/office/drawing/2014/main" id="{7A968ED8-B7A5-4B68-AF27-DAE3E4FFEDCD}"/>
              </a:ext>
            </a:extLst>
          </p:cNvPr>
          <p:cNvSpPr txBox="1"/>
          <p:nvPr/>
        </p:nvSpPr>
        <p:spPr>
          <a:xfrm>
            <a:off x="6096000" y="125783"/>
            <a:ext cx="20097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600" b="1" dirty="0">
                <a:solidFill>
                  <a:srgbClr val="FFFFFF"/>
                </a:solidFill>
              </a:rPr>
              <a:t>Stav k 21. 10. 2021</a:t>
            </a:r>
          </a:p>
        </p:txBody>
      </p:sp>
      <p:graphicFrame>
        <p:nvGraphicFramePr>
          <p:cNvPr id="13" name="Tabulka 12">
            <a:extLst>
              <a:ext uri="{FF2B5EF4-FFF2-40B4-BE49-F238E27FC236}">
                <a16:creationId xmlns:a16="http://schemas.microsoft.com/office/drawing/2014/main" id="{9EBA9451-7A3F-4EF9-93DD-7094F620D3D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1313620"/>
              </p:ext>
            </p:extLst>
          </p:nvPr>
        </p:nvGraphicFramePr>
        <p:xfrm>
          <a:off x="356585" y="1390934"/>
          <a:ext cx="11273439" cy="4296106"/>
        </p:xfrm>
        <a:graphic>
          <a:graphicData uri="http://schemas.openxmlformats.org/drawingml/2006/table">
            <a:tbl>
              <a:tblPr firstRow="1" lastRow="1" bandRow="1">
                <a:tableStyleId>{5C22544A-7EE6-4342-B048-85BDC9FD1C3A}</a:tableStyleId>
              </a:tblPr>
              <a:tblGrid>
                <a:gridCol w="4877273">
                  <a:extLst>
                    <a:ext uri="{9D8B030D-6E8A-4147-A177-3AD203B41FA5}">
                      <a16:colId xmlns:a16="http://schemas.microsoft.com/office/drawing/2014/main" val="2651665098"/>
                    </a:ext>
                  </a:extLst>
                </a:gridCol>
                <a:gridCol w="2364698">
                  <a:extLst>
                    <a:ext uri="{9D8B030D-6E8A-4147-A177-3AD203B41FA5}">
                      <a16:colId xmlns:a16="http://schemas.microsoft.com/office/drawing/2014/main" val="3939455336"/>
                    </a:ext>
                  </a:extLst>
                </a:gridCol>
                <a:gridCol w="2015734">
                  <a:extLst>
                    <a:ext uri="{9D8B030D-6E8A-4147-A177-3AD203B41FA5}">
                      <a16:colId xmlns:a16="http://schemas.microsoft.com/office/drawing/2014/main" val="2226907532"/>
                    </a:ext>
                  </a:extLst>
                </a:gridCol>
                <a:gridCol w="2015734">
                  <a:extLst>
                    <a:ext uri="{9D8B030D-6E8A-4147-A177-3AD203B41FA5}">
                      <a16:colId xmlns:a16="http://schemas.microsoft.com/office/drawing/2014/main" val="2183727549"/>
                    </a:ext>
                  </a:extLst>
                </a:gridCol>
              </a:tblGrid>
              <a:tr h="992626">
                <a:tc>
                  <a:txBody>
                    <a:bodyPr/>
                    <a:lstStyle/>
                    <a:p>
                      <a:pPr algn="l" fontAlgn="ctr"/>
                      <a:r>
                        <a:rPr lang="cs-CZ" dirty="0"/>
                        <a:t>Zdravotničtí pracovníci </a:t>
                      </a:r>
                    </a:p>
                    <a:p>
                      <a:pPr algn="l" fontAlgn="ctr"/>
                      <a:r>
                        <a:rPr lang="cs-CZ" dirty="0"/>
                        <a:t>evidovaní v NZIS*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 dirty="0">
                          <a:effectLst/>
                        </a:rPr>
                        <a:t>Počet aktivních zdravotnických pracovníků**</a:t>
                      </a:r>
                      <a:endParaRPr lang="cs-CZ" sz="18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u="none" strike="noStrike" dirty="0">
                          <a:effectLst/>
                        </a:rPr>
                        <a:t>Počet očkovaných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u="none" strike="noStrike">
                          <a:effectLst/>
                        </a:rPr>
                        <a:t>Podíl očkovaných</a:t>
                      </a:r>
                      <a:endParaRPr lang="cs-CZ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3304470326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Lékaři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včetně zubních lékařů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 97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 67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6,0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1230907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Sestry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§ 5 Všeobecná sestra, § 5a Dětská sestra,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§ 6 Porodní asistentka, § 21b Praktická sestra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4 17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 95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,7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12447989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u="none" strike="noStrike" dirty="0">
                          <a:effectLst/>
                        </a:rPr>
                        <a:t>Ostatní zdravotničtí pracovníci </a:t>
                      </a:r>
                    </a:p>
                    <a:p>
                      <a:pPr algn="l" fontAlgn="ctr"/>
                      <a:r>
                        <a:rPr lang="cs-CZ" sz="1400" b="0" u="none" strike="noStrike" dirty="0">
                          <a:effectLst/>
                        </a:rPr>
                        <a:t>(NLZP § 7 až § 42 kromě § 21b, farmaceuti)*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 27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 42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,1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18325100"/>
                  </a:ext>
                </a:extLst>
              </a:tr>
              <a:tr h="82587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u="none" strike="noStrike" dirty="0">
                          <a:effectLst/>
                        </a:rPr>
                        <a:t>CELKEM</a:t>
                      </a:r>
                      <a:endParaRPr lang="cs-CZ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1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47 42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96 05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79,2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34177443"/>
                  </a:ext>
                </a:extLst>
              </a:tr>
            </a:tbl>
          </a:graphicData>
        </a:graphic>
      </p:graphicFrame>
      <p:sp>
        <p:nvSpPr>
          <p:cNvPr id="14" name="Obdélník 13">
            <a:extLst>
              <a:ext uri="{FF2B5EF4-FFF2-40B4-BE49-F238E27FC236}">
                <a16:creationId xmlns:a16="http://schemas.microsoft.com/office/drawing/2014/main" id="{F04ED3AE-021E-41E6-820F-16896A92FE56}"/>
              </a:ext>
            </a:extLst>
          </p:cNvPr>
          <p:cNvSpPr/>
          <p:nvPr/>
        </p:nvSpPr>
        <p:spPr>
          <a:xfrm>
            <a:off x="1733551" y="6575571"/>
            <a:ext cx="828039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</p:spTree>
    <p:extLst>
      <p:ext uri="{BB962C8B-B14F-4D97-AF65-F5344CB8AC3E}">
        <p14:creationId xmlns:p14="http://schemas.microsoft.com/office/powerpoint/2010/main" val="207823012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Vakcinace posilující dávkou</a:t>
            </a:r>
          </a:p>
        </p:txBody>
      </p:sp>
      <p:sp>
        <p:nvSpPr>
          <p:cNvPr id="5" name="TextBox 6">
            <a:extLst>
              <a:ext uri="{FF2B5EF4-FFF2-40B4-BE49-F238E27FC236}">
                <a16:creationId xmlns:a16="http://schemas.microsoft.com/office/drawing/2014/main" id="{FC5F43CD-61A6-4942-B1EB-1AFAC38D4C4A}"/>
              </a:ext>
            </a:extLst>
          </p:cNvPr>
          <p:cNvSpPr txBox="1"/>
          <p:nvPr/>
        </p:nvSpPr>
        <p:spPr>
          <a:xfrm>
            <a:off x="5686425" y="103334"/>
            <a:ext cx="23717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bg1"/>
                </a:solidFill>
              </a:rPr>
              <a:t>Stav k </a:t>
            </a:r>
            <a:r>
              <a:rPr lang="cs-CZ" b="1" dirty="0">
                <a:solidFill>
                  <a:srgbClr val="FFFFFF"/>
                </a:solidFill>
              </a:rPr>
              <a:t>21. 10. 2021</a:t>
            </a:r>
            <a:endParaRPr lang="cs-CZ" b="1" dirty="0">
              <a:solidFill>
                <a:schemeClr val="bg1"/>
              </a:solidFill>
            </a:endParaRPr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05F5D353-1230-45A8-9016-8A9D8618F6E5}"/>
              </a:ext>
            </a:extLst>
          </p:cNvPr>
          <p:cNvSpPr/>
          <p:nvPr/>
        </p:nvSpPr>
        <p:spPr>
          <a:xfrm>
            <a:off x="252076" y="600164"/>
            <a:ext cx="353173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b="1" dirty="0"/>
              <a:t>Aktivní zdravotničtí pracovníci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442B2FDB-F20E-40AA-ADF4-05FC4E7F4BF6}"/>
              </a:ext>
            </a:extLst>
          </p:cNvPr>
          <p:cNvSpPr txBox="1"/>
          <p:nvPr/>
        </p:nvSpPr>
        <p:spPr>
          <a:xfrm>
            <a:off x="252076" y="6023223"/>
            <a:ext cx="11561308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100" dirty="0"/>
              <a:t>Počet zdravotnických pracovníků (ZP) dle hlášení povinných subjektů do Národního registru zdravotnických pracovníků – NRZP (vzdělávací instituce, poskytovatelé). Celkový počet ZP zahrnuje osoby s odpovídající odbornou způsobilostí pro výkony ZP a žijící k danému datu. V této analýze jsou zahrnuti ZP, u kterých poskytovatelé zdravotních služeb nahlásili jejich aktivní výkon zaměstnání </a:t>
            </a:r>
            <a:r>
              <a:rPr lang="pl-PL" sz="1100" dirty="0"/>
              <a:t>v období od 1.9.2021 do současnosti </a:t>
            </a:r>
            <a:r>
              <a:rPr lang="cs-CZ" sz="1100" dirty="0"/>
              <a:t>(v ambulantním sektoru mohou být tyto počty mírně nedohlášené). </a:t>
            </a:r>
          </a:p>
        </p:txBody>
      </p:sp>
      <p:graphicFrame>
        <p:nvGraphicFramePr>
          <p:cNvPr id="11" name="Table 2">
            <a:extLst>
              <a:ext uri="{FF2B5EF4-FFF2-40B4-BE49-F238E27FC236}">
                <a16:creationId xmlns:a16="http://schemas.microsoft.com/office/drawing/2014/main" id="{4567601D-A50C-4550-904F-A1C3633503D3}"/>
              </a:ext>
            </a:extLst>
          </p:cNvPr>
          <p:cNvGraphicFramePr>
            <a:graphicFrameLocks noGrp="1"/>
          </p:cNvGraphicFramePr>
          <p:nvPr/>
        </p:nvGraphicFramePr>
        <p:xfrm>
          <a:off x="315344" y="958340"/>
          <a:ext cx="11561311" cy="4698672"/>
        </p:xfrm>
        <a:graphic>
          <a:graphicData uri="http://schemas.openxmlformats.org/drawingml/2006/table">
            <a:tbl>
              <a:tblPr firstRow="1" lastRow="1" bandRow="1">
                <a:tableStyleId>{74C1A8A3-306A-4EB7-A6B1-4F7E0EB9C5D6}</a:tableStyleId>
              </a:tblPr>
              <a:tblGrid>
                <a:gridCol w="1744287">
                  <a:extLst>
                    <a:ext uri="{9D8B030D-6E8A-4147-A177-3AD203B41FA5}">
                      <a16:colId xmlns:a16="http://schemas.microsoft.com/office/drawing/2014/main" val="2523158226"/>
                    </a:ext>
                  </a:extLst>
                </a:gridCol>
                <a:gridCol w="1227128">
                  <a:extLst>
                    <a:ext uri="{9D8B030D-6E8A-4147-A177-3AD203B41FA5}">
                      <a16:colId xmlns:a16="http://schemas.microsoft.com/office/drawing/2014/main" val="1593569998"/>
                    </a:ext>
                  </a:extLst>
                </a:gridCol>
                <a:gridCol w="1227128">
                  <a:extLst>
                    <a:ext uri="{9D8B030D-6E8A-4147-A177-3AD203B41FA5}">
                      <a16:colId xmlns:a16="http://schemas.microsoft.com/office/drawing/2014/main" val="3216406433"/>
                    </a:ext>
                  </a:extLst>
                </a:gridCol>
                <a:gridCol w="1227128">
                  <a:extLst>
                    <a:ext uri="{9D8B030D-6E8A-4147-A177-3AD203B41FA5}">
                      <a16:colId xmlns:a16="http://schemas.microsoft.com/office/drawing/2014/main" val="1759659700"/>
                    </a:ext>
                  </a:extLst>
                </a:gridCol>
                <a:gridCol w="1227128">
                  <a:extLst>
                    <a:ext uri="{9D8B030D-6E8A-4147-A177-3AD203B41FA5}">
                      <a16:colId xmlns:a16="http://schemas.microsoft.com/office/drawing/2014/main" val="2767492860"/>
                    </a:ext>
                  </a:extLst>
                </a:gridCol>
                <a:gridCol w="1227128">
                  <a:extLst>
                    <a:ext uri="{9D8B030D-6E8A-4147-A177-3AD203B41FA5}">
                      <a16:colId xmlns:a16="http://schemas.microsoft.com/office/drawing/2014/main" val="773291409"/>
                    </a:ext>
                  </a:extLst>
                </a:gridCol>
                <a:gridCol w="1227128">
                  <a:extLst>
                    <a:ext uri="{9D8B030D-6E8A-4147-A177-3AD203B41FA5}">
                      <a16:colId xmlns:a16="http://schemas.microsoft.com/office/drawing/2014/main" val="3497186403"/>
                    </a:ext>
                  </a:extLst>
                </a:gridCol>
                <a:gridCol w="1227128">
                  <a:extLst>
                    <a:ext uri="{9D8B030D-6E8A-4147-A177-3AD203B41FA5}">
                      <a16:colId xmlns:a16="http://schemas.microsoft.com/office/drawing/2014/main" val="843981191"/>
                    </a:ext>
                  </a:extLst>
                </a:gridCol>
                <a:gridCol w="1227128">
                  <a:extLst>
                    <a:ext uri="{9D8B030D-6E8A-4147-A177-3AD203B41FA5}">
                      <a16:colId xmlns:a16="http://schemas.microsoft.com/office/drawing/2014/main" val="3182885545"/>
                    </a:ext>
                  </a:extLst>
                </a:gridCol>
              </a:tblGrid>
              <a:tr h="613647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Zdravotničtí pracovníci </a:t>
                      </a:r>
                    </a:p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Lékaři </a:t>
                      </a:r>
                    </a:p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(včetně zubních lékařů)</a:t>
                      </a:r>
                      <a:endParaRPr lang="cs-CZ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estry</a:t>
                      </a:r>
                      <a:r>
                        <a:rPr lang="cs-CZ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</a:p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(§ 5 Všeobecná sestra, § 5a Dětská sestra, § 6 Porodní asistentka, § 21b Praktická sestra)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Ostatní zdravotničtí pracovníci </a:t>
                      </a:r>
                    </a:p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(NLZP § 7 až § 42 kromě § 21b, farmaceuti)</a:t>
                      </a:r>
                      <a:endParaRPr lang="cs-CZ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43287447"/>
                  </a:ext>
                </a:extLst>
              </a:tr>
              <a:tr h="600991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Kraj podle místa působení*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očet osob s nárokem na posilující dávku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očet osob s posilující dávkou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očet osob s nárokem na posilující dávku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očet osob s posilující dávkou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očet osob s nárokem na posilující dávku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očet osob s posilující dávkou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očet osob s nárokem na posilující dávku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očet osob s posilující dávkou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93062634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Hlavní město Praha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 8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86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22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8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77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4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776035022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Středočes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28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0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7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9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88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848947671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>
                          <a:effectLst/>
                        </a:rPr>
                        <a:t>Jihočeský kraj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5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8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5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844333786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>
                          <a:effectLst/>
                        </a:rPr>
                        <a:t>Plzeňský kraj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6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8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5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6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443186940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Karlovars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77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9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6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247044073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>
                          <a:effectLst/>
                        </a:rPr>
                        <a:t>Ústecký kraj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16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9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28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024894236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Liberec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1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7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6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6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28109536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Královéhradec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48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6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6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8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4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519525594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Pardubic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15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0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7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7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350366277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Kraj Vysočina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8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2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4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72557106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Jihomoravs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0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90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5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3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77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127962169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Olomouc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66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5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893644269"/>
                  </a:ext>
                </a:extLst>
              </a:tr>
              <a:tr h="23099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Zlíns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0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8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556090642"/>
                  </a:ext>
                </a:extLst>
              </a:tr>
              <a:tr h="233556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 dirty="0">
                          <a:effectLst/>
                        </a:rPr>
                        <a:t>Moravskoslezs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3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4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27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8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16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28310195"/>
                  </a:ext>
                </a:extLst>
              </a:tr>
              <a:tr h="221162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CELKEM**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4 58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 15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 36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6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 36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65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 85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8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1976480"/>
                  </a:ext>
                </a:extLst>
              </a:tr>
            </a:tbl>
          </a:graphicData>
        </a:graphic>
      </p:graphicFrame>
      <p:sp>
        <p:nvSpPr>
          <p:cNvPr id="12" name="Obdélník 11">
            <a:extLst>
              <a:ext uri="{FF2B5EF4-FFF2-40B4-BE49-F238E27FC236}">
                <a16:creationId xmlns:a16="http://schemas.microsoft.com/office/drawing/2014/main" id="{07918BD6-47A7-4629-B00F-7C350B485540}"/>
              </a:ext>
            </a:extLst>
          </p:cNvPr>
          <p:cNvSpPr/>
          <p:nvPr/>
        </p:nvSpPr>
        <p:spPr>
          <a:xfrm>
            <a:off x="1752601" y="6566046"/>
            <a:ext cx="828039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Národní zdravotnický informační sytém (NZIS), ÚZIS ČR; Informační systém infekční nemoci (ISIN) </a:t>
            </a:r>
          </a:p>
        </p:txBody>
      </p:sp>
      <p:sp>
        <p:nvSpPr>
          <p:cNvPr id="13" name="Obdélník 12">
            <a:extLst>
              <a:ext uri="{FF2B5EF4-FFF2-40B4-BE49-F238E27FC236}">
                <a16:creationId xmlns:a16="http://schemas.microsoft.com/office/drawing/2014/main" id="{0106F417-40A8-41A4-A3D6-B22D419501BE}"/>
              </a:ext>
            </a:extLst>
          </p:cNvPr>
          <p:cNvSpPr/>
          <p:nvPr/>
        </p:nvSpPr>
        <p:spPr>
          <a:xfrm>
            <a:off x="252076" y="5668681"/>
            <a:ext cx="9158276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sz="1100" dirty="0"/>
              <a:t>* Přeočkování posilující dávkou je možné pro osoby, které mají nejméně 6 měsíců (v této analýze 182 dnů) po aplikaci ukončovací (druhé) dávky.</a:t>
            </a:r>
          </a:p>
          <a:p>
            <a:r>
              <a:rPr lang="cs-CZ" sz="1100" dirty="0"/>
              <a:t>** Jeden zdravotnický pracovník může působit ve více krajích, do celkového počtu je zahrnut pouze jednou. </a:t>
            </a:r>
          </a:p>
        </p:txBody>
      </p:sp>
    </p:spTree>
    <p:extLst>
      <p:ext uri="{BB962C8B-B14F-4D97-AF65-F5344CB8AC3E}">
        <p14:creationId xmlns:p14="http://schemas.microsoft.com/office/powerpoint/2010/main" val="341926788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bdélník 4">
            <a:extLst>
              <a:ext uri="{FF2B5EF4-FFF2-40B4-BE49-F238E27FC236}">
                <a16:creationId xmlns:a16="http://schemas.microsoft.com/office/drawing/2014/main" id="{CD96D264-7DB7-4540-BD2A-BEA7AA3CDEDF}"/>
              </a:ext>
            </a:extLst>
          </p:cNvPr>
          <p:cNvSpPr/>
          <p:nvPr/>
        </p:nvSpPr>
        <p:spPr>
          <a:xfrm>
            <a:off x="609693" y="647811"/>
            <a:ext cx="1097101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ctr"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nově COVID-19 pozitivních (incidence), </a:t>
            </a:r>
            <a:r>
              <a:rPr lang="cs-CZ" sz="2000" b="1" dirty="0">
                <a:solidFill>
                  <a:srgbClr val="C00000"/>
                </a:solidFill>
                <a:latin typeface="Calibri" panose="020F0502020204030204" pitchFamily="34" charset="0"/>
              </a:rPr>
              <a:t>stav k 21. 10. 2021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5" name="TextovéPole 8">
            <a:extLst>
              <a:ext uri="{FF2B5EF4-FFF2-40B4-BE49-F238E27FC236}">
                <a16:creationId xmlns:a16="http://schemas.microsoft.com/office/drawing/2014/main" id="{647DDAC2-3C77-4F03-9BD2-24C7C1216857}"/>
              </a:ext>
            </a:extLst>
          </p:cNvPr>
          <p:cNvSpPr txBox="1"/>
          <p:nvPr/>
        </p:nvSpPr>
        <p:spPr>
          <a:xfrm>
            <a:off x="2990850" y="6567385"/>
            <a:ext cx="63627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100" dirty="0">
                <a:latin typeface="Calibri" panose="020F0502020204030204" pitchFamily="34" charset="0"/>
                <a:cs typeface="Calibri" panose="020F0502020204030204" pitchFamily="34" charset="0"/>
              </a:rPr>
              <a:t>Zdroj: ISIN – Informační systém infekční nemocí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9FAB93A6-2228-45F5-872E-1F511F38CC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010" y="2"/>
            <a:ext cx="7864952" cy="576000"/>
          </a:xfrm>
        </p:spPr>
        <p:txBody>
          <a:bodyPr/>
          <a:lstStyle/>
          <a:p>
            <a:r>
              <a:rPr lang="cs-CZ" dirty="0"/>
              <a:t>Počty pracovníků ve zdravotnictví s nákazou COVID-19</a:t>
            </a:r>
          </a:p>
        </p:txBody>
      </p:sp>
      <p:graphicFrame>
        <p:nvGraphicFramePr>
          <p:cNvPr id="8" name="Graf 7">
            <a:extLst>
              <a:ext uri="{FF2B5EF4-FFF2-40B4-BE49-F238E27FC236}">
                <a16:creationId xmlns:a16="http://schemas.microsoft.com/office/drawing/2014/main" id="{43448D1D-2E05-45CA-A866-143DDBF5BA0C}"/>
              </a:ext>
            </a:extLst>
          </p:cNvPr>
          <p:cNvGraphicFramePr/>
          <p:nvPr/>
        </p:nvGraphicFramePr>
        <p:xfrm>
          <a:off x="142875" y="1119730"/>
          <a:ext cx="7153275" cy="54476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7C1367ED-B273-4E58-BBB3-AD1B81F63A12}"/>
              </a:ext>
            </a:extLst>
          </p:cNvPr>
          <p:cNvGraphicFramePr>
            <a:graphicFrameLocks noGrp="1"/>
          </p:cNvGraphicFramePr>
          <p:nvPr/>
        </p:nvGraphicFramePr>
        <p:xfrm>
          <a:off x="7296150" y="1209675"/>
          <a:ext cx="4661411" cy="5209594"/>
        </p:xfrm>
        <a:graphic>
          <a:graphicData uri="http://schemas.openxmlformats.org/drawingml/2006/table">
            <a:tbl>
              <a:tblPr/>
              <a:tblGrid>
                <a:gridCol w="1453112">
                  <a:extLst>
                    <a:ext uri="{9D8B030D-6E8A-4147-A177-3AD203B41FA5}">
                      <a16:colId xmlns:a16="http://schemas.microsoft.com/office/drawing/2014/main" val="413071720"/>
                    </a:ext>
                  </a:extLst>
                </a:gridCol>
                <a:gridCol w="782840">
                  <a:extLst>
                    <a:ext uri="{9D8B030D-6E8A-4147-A177-3AD203B41FA5}">
                      <a16:colId xmlns:a16="http://schemas.microsoft.com/office/drawing/2014/main" val="3345832007"/>
                    </a:ext>
                  </a:extLst>
                </a:gridCol>
                <a:gridCol w="782840">
                  <a:extLst>
                    <a:ext uri="{9D8B030D-6E8A-4147-A177-3AD203B41FA5}">
                      <a16:colId xmlns:a16="http://schemas.microsoft.com/office/drawing/2014/main" val="3216505177"/>
                    </a:ext>
                  </a:extLst>
                </a:gridCol>
                <a:gridCol w="840544">
                  <a:extLst>
                    <a:ext uri="{9D8B030D-6E8A-4147-A177-3AD203B41FA5}">
                      <a16:colId xmlns:a16="http://schemas.microsoft.com/office/drawing/2014/main" val="1240375351"/>
                    </a:ext>
                  </a:extLst>
                </a:gridCol>
                <a:gridCol w="802075">
                  <a:extLst>
                    <a:ext uri="{9D8B030D-6E8A-4147-A177-3AD203B41FA5}">
                      <a16:colId xmlns:a16="http://schemas.microsoft.com/office/drawing/2014/main" val="1696405920"/>
                    </a:ext>
                  </a:extLst>
                </a:gridCol>
              </a:tblGrid>
              <a:tr h="872809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 denní klouzavý průměr 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poslední den)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Lékaři</a:t>
                      </a:r>
                      <a:endParaRPr lang="cs-CZ" sz="1200" b="0" i="0" u="none" strike="noStrike" dirty="0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Sesterská povolání </a:t>
                      </a:r>
                      <a:endParaRPr lang="cs-CZ" sz="1200" b="0" i="0" u="none" strike="noStrike" dirty="0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Ostatní zdravotničtí pracovníci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1832207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3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7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6640817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2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3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4809383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3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0249884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0390105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1515625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285489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3928224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3425417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319143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69061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3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3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745060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9134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5124751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5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8326513"/>
                  </a:ext>
                </a:extLst>
              </a:tr>
              <a:tr h="28911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1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22 (4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30 (3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 (8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1328876"/>
                  </a:ext>
                </a:extLst>
              </a:tr>
            </a:tbl>
          </a:graphicData>
        </a:graphic>
      </p:graphicFrame>
      <p:cxnSp>
        <p:nvCxnSpPr>
          <p:cNvPr id="14" name="Straight Connector 4">
            <a:extLst>
              <a:ext uri="{FF2B5EF4-FFF2-40B4-BE49-F238E27FC236}">
                <a16:creationId xmlns:a16="http://schemas.microsoft.com/office/drawing/2014/main" id="{F5F70D9E-87A2-4BFA-BE04-CC7F4241D0B4}"/>
              </a:ext>
            </a:extLst>
          </p:cNvPr>
          <p:cNvCxnSpPr/>
          <p:nvPr/>
        </p:nvCxnSpPr>
        <p:spPr>
          <a:xfrm>
            <a:off x="5606765" y="1702345"/>
            <a:ext cx="216000" cy="0"/>
          </a:xfrm>
          <a:prstGeom prst="line">
            <a:avLst/>
          </a:prstGeom>
          <a:ln w="1905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5">
            <a:extLst>
              <a:ext uri="{FF2B5EF4-FFF2-40B4-BE49-F238E27FC236}">
                <a16:creationId xmlns:a16="http://schemas.microsoft.com/office/drawing/2014/main" id="{39CA3BBA-412B-4A3C-ADC1-DAF4B494D04F}"/>
              </a:ext>
            </a:extLst>
          </p:cNvPr>
          <p:cNvSpPr txBox="1"/>
          <p:nvPr/>
        </p:nvSpPr>
        <p:spPr>
          <a:xfrm>
            <a:off x="5789707" y="1533071"/>
            <a:ext cx="1341224" cy="5978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100"/>
              </a:lnSpc>
              <a:spcBef>
                <a:spcPts val="600"/>
              </a:spcBef>
            </a:pPr>
            <a:r>
              <a:rPr lang="cs-CZ" sz="1200" b="1" dirty="0">
                <a:latin typeface="Calibri" panose="020F0502020204030204" pitchFamily="34" charset="0"/>
                <a:cs typeface="Calibri" panose="020F0502020204030204" pitchFamily="34" charset="0"/>
              </a:rPr>
              <a:t>7 denní klouzavý průměr</a:t>
            </a:r>
          </a:p>
          <a:p>
            <a:pPr>
              <a:lnSpc>
                <a:spcPts val="1100"/>
              </a:lnSpc>
              <a:spcBef>
                <a:spcPts val="600"/>
              </a:spcBef>
            </a:pPr>
            <a:r>
              <a:rPr lang="cs-CZ" sz="1200" b="1" dirty="0">
                <a:latin typeface="Calibri" panose="020F0502020204030204" pitchFamily="34" charset="0"/>
                <a:cs typeface="Calibri" panose="020F0502020204030204" pitchFamily="34" charset="0"/>
              </a:rPr>
              <a:t>denní hodnoty</a:t>
            </a:r>
          </a:p>
        </p:txBody>
      </p:sp>
      <p:cxnSp>
        <p:nvCxnSpPr>
          <p:cNvPr id="17" name="Straight Connector 4">
            <a:extLst>
              <a:ext uri="{FF2B5EF4-FFF2-40B4-BE49-F238E27FC236}">
                <a16:creationId xmlns:a16="http://schemas.microsoft.com/office/drawing/2014/main" id="{49368D80-8513-4AF4-B12A-04F7F7E5994A}"/>
              </a:ext>
            </a:extLst>
          </p:cNvPr>
          <p:cNvCxnSpPr/>
          <p:nvPr/>
        </p:nvCxnSpPr>
        <p:spPr>
          <a:xfrm>
            <a:off x="5606765" y="1997620"/>
            <a:ext cx="216000" cy="0"/>
          </a:xfrm>
          <a:prstGeom prst="line">
            <a:avLst/>
          </a:prstGeom>
          <a:ln w="635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5">
            <a:extLst>
              <a:ext uri="{FF2B5EF4-FFF2-40B4-BE49-F238E27FC236}">
                <a16:creationId xmlns:a16="http://schemas.microsoft.com/office/drawing/2014/main" id="{5F83CAAA-A3F3-4137-A444-807362C84989}"/>
              </a:ext>
            </a:extLst>
          </p:cNvPr>
          <p:cNvSpPr txBox="1"/>
          <p:nvPr/>
        </p:nvSpPr>
        <p:spPr>
          <a:xfrm>
            <a:off x="5492063" y="2212046"/>
            <a:ext cx="1341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i="1" dirty="0">
                <a:latin typeface="Calibri" panose="020F0502020204030204" pitchFamily="34" charset="0"/>
                <a:cs typeface="Calibri" panose="020F0502020204030204" pitchFamily="34" charset="0"/>
              </a:rPr>
              <a:t>Poslední den:</a:t>
            </a:r>
          </a:p>
        </p:txBody>
      </p:sp>
    </p:spTree>
    <p:extLst>
      <p:ext uri="{BB962C8B-B14F-4D97-AF65-F5344CB8AC3E}">
        <p14:creationId xmlns:p14="http://schemas.microsoft.com/office/powerpoint/2010/main" val="426143306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Graf 6">
            <a:extLst>
              <a:ext uri="{FF2B5EF4-FFF2-40B4-BE49-F238E27FC236}">
                <a16:creationId xmlns:a16="http://schemas.microsoft.com/office/drawing/2014/main" id="{4E2462CD-2C28-4222-9D6A-55BCDDF9CD02}"/>
              </a:ext>
            </a:extLst>
          </p:cNvPr>
          <p:cNvGraphicFramePr/>
          <p:nvPr/>
        </p:nvGraphicFramePr>
        <p:xfrm>
          <a:off x="142875" y="1083825"/>
          <a:ext cx="7153275" cy="54476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" name="Obdélník 4">
            <a:extLst>
              <a:ext uri="{FF2B5EF4-FFF2-40B4-BE49-F238E27FC236}">
                <a16:creationId xmlns:a16="http://schemas.microsoft.com/office/drawing/2014/main" id="{CD96D264-7DB7-4540-BD2A-BEA7AA3CDEDF}"/>
              </a:ext>
            </a:extLst>
          </p:cNvPr>
          <p:cNvSpPr/>
          <p:nvPr/>
        </p:nvSpPr>
        <p:spPr>
          <a:xfrm>
            <a:off x="609693" y="647811"/>
            <a:ext cx="1097101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ctr"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Aktuální počet COVID-19 pozitivních (prevalence), </a:t>
            </a:r>
            <a:r>
              <a:rPr lang="cs-CZ" sz="2000" b="1" dirty="0">
                <a:solidFill>
                  <a:srgbClr val="C00000"/>
                </a:solidFill>
                <a:latin typeface="Calibri" panose="020F0502020204030204" pitchFamily="34" charset="0"/>
              </a:rPr>
              <a:t>stav k 21. 10. 2021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5" name="TextovéPole 8">
            <a:extLst>
              <a:ext uri="{FF2B5EF4-FFF2-40B4-BE49-F238E27FC236}">
                <a16:creationId xmlns:a16="http://schemas.microsoft.com/office/drawing/2014/main" id="{647DDAC2-3C77-4F03-9BD2-24C7C1216857}"/>
              </a:ext>
            </a:extLst>
          </p:cNvPr>
          <p:cNvSpPr txBox="1"/>
          <p:nvPr/>
        </p:nvSpPr>
        <p:spPr>
          <a:xfrm>
            <a:off x="2990850" y="6567385"/>
            <a:ext cx="63627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100" dirty="0">
                <a:latin typeface="Calibri" panose="020F0502020204030204" pitchFamily="34" charset="0"/>
                <a:cs typeface="Calibri" panose="020F0502020204030204" pitchFamily="34" charset="0"/>
              </a:rPr>
              <a:t>Zdroj: ISIN – Informační systém infekční nemocí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9FAB93A6-2228-45F5-872E-1F511F38CC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010" y="2"/>
            <a:ext cx="7864952" cy="576000"/>
          </a:xfrm>
        </p:spPr>
        <p:txBody>
          <a:bodyPr/>
          <a:lstStyle/>
          <a:p>
            <a:r>
              <a:rPr lang="cs-CZ" dirty="0"/>
              <a:t>Počty pracovníků ve zdravotnictví s nákazou COVID-19</a:t>
            </a: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7C1367ED-B273-4E58-BBB3-AD1B81F63A12}"/>
              </a:ext>
            </a:extLst>
          </p:cNvPr>
          <p:cNvGraphicFramePr>
            <a:graphicFrameLocks noGrp="1"/>
          </p:cNvGraphicFramePr>
          <p:nvPr/>
        </p:nvGraphicFramePr>
        <p:xfrm>
          <a:off x="7296150" y="1256231"/>
          <a:ext cx="4752977" cy="5154086"/>
        </p:xfrm>
        <a:graphic>
          <a:graphicData uri="http://schemas.openxmlformats.org/drawingml/2006/table">
            <a:tbl>
              <a:tblPr/>
              <a:tblGrid>
                <a:gridCol w="1456505">
                  <a:extLst>
                    <a:ext uri="{9D8B030D-6E8A-4147-A177-3AD203B41FA5}">
                      <a16:colId xmlns:a16="http://schemas.microsoft.com/office/drawing/2014/main" val="413071720"/>
                    </a:ext>
                  </a:extLst>
                </a:gridCol>
                <a:gridCol w="824118">
                  <a:extLst>
                    <a:ext uri="{9D8B030D-6E8A-4147-A177-3AD203B41FA5}">
                      <a16:colId xmlns:a16="http://schemas.microsoft.com/office/drawing/2014/main" val="3345832007"/>
                    </a:ext>
                  </a:extLst>
                </a:gridCol>
                <a:gridCol w="824118">
                  <a:extLst>
                    <a:ext uri="{9D8B030D-6E8A-4147-A177-3AD203B41FA5}">
                      <a16:colId xmlns:a16="http://schemas.microsoft.com/office/drawing/2014/main" val="3216505177"/>
                    </a:ext>
                  </a:extLst>
                </a:gridCol>
                <a:gridCol w="824118">
                  <a:extLst>
                    <a:ext uri="{9D8B030D-6E8A-4147-A177-3AD203B41FA5}">
                      <a16:colId xmlns:a16="http://schemas.microsoft.com/office/drawing/2014/main" val="1240375351"/>
                    </a:ext>
                  </a:extLst>
                </a:gridCol>
                <a:gridCol w="824118">
                  <a:extLst>
                    <a:ext uri="{9D8B030D-6E8A-4147-A177-3AD203B41FA5}">
                      <a16:colId xmlns:a16="http://schemas.microsoft.com/office/drawing/2014/main" val="1696405920"/>
                    </a:ext>
                  </a:extLst>
                </a:gridCol>
              </a:tblGrid>
              <a:tr h="884666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Lékaři</a:t>
                      </a:r>
                      <a:endParaRPr lang="cs-CZ" sz="1200" b="0" i="0" u="none" strike="noStrike" dirty="0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Sesterská povolání </a:t>
                      </a:r>
                      <a:endParaRPr lang="cs-CZ" sz="1200" b="0" i="0" u="none" strike="noStrike" dirty="0">
                        <a:solidFill>
                          <a:srgbClr val="ED7D3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Ostatní zdravotničtí pracovníci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1832207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6640817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4809383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0249884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0390105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1515625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285489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3928224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3425417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319143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69061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745060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9134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5124751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8326513"/>
                  </a:ext>
                </a:extLst>
              </a:tr>
              <a:tr h="28462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1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28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36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132887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5731907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30F82FAD-AAB7-4547-9619-925E046AFBE3}"/>
              </a:ext>
            </a:extLst>
          </p:cNvPr>
          <p:cNvGraphicFramePr>
            <a:graphicFrameLocks noGrp="1"/>
          </p:cNvGraphicFramePr>
          <p:nvPr/>
        </p:nvGraphicFramePr>
        <p:xfrm>
          <a:off x="10852149" y="2270189"/>
          <a:ext cx="766457" cy="3611820"/>
        </p:xfrm>
        <a:graphic>
          <a:graphicData uri="http://schemas.openxmlformats.org/drawingml/2006/table">
            <a:tbl>
              <a:tblPr/>
              <a:tblGrid>
                <a:gridCol w="766457">
                  <a:extLst>
                    <a:ext uri="{9D8B030D-6E8A-4147-A177-3AD203B41FA5}">
                      <a16:colId xmlns:a16="http://schemas.microsoft.com/office/drawing/2014/main" val="2075212669"/>
                    </a:ext>
                  </a:extLst>
                </a:gridCol>
              </a:tblGrid>
              <a:tr h="240788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0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6022966"/>
                  </a:ext>
                </a:extLst>
              </a:tr>
              <a:tr h="240788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6B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97739013"/>
                  </a:ext>
                </a:extLst>
              </a:tr>
              <a:tr h="240788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A7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6352634"/>
                  </a:ext>
                </a:extLst>
              </a:tr>
              <a:tr h="240788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8B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2554393"/>
                  </a:ext>
                </a:extLst>
              </a:tr>
              <a:tr h="240788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8723003"/>
                  </a:ext>
                </a:extLst>
              </a:tr>
              <a:tr h="240788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68475125"/>
                  </a:ext>
                </a:extLst>
              </a:tr>
              <a:tr h="240788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5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4791811"/>
                  </a:ext>
                </a:extLst>
              </a:tr>
              <a:tr h="240788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65015605"/>
                  </a:ext>
                </a:extLst>
              </a:tr>
              <a:tr h="240788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116259"/>
                  </a:ext>
                </a:extLst>
              </a:tr>
              <a:tr h="240788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4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43890787"/>
                  </a:ext>
                </a:extLst>
              </a:tr>
              <a:tr h="240788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7A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40959737"/>
                  </a:ext>
                </a:extLst>
              </a:tr>
              <a:tr h="240788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17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3123598"/>
                  </a:ext>
                </a:extLst>
              </a:tr>
              <a:tr h="240788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89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0138745"/>
                  </a:ext>
                </a:extLst>
              </a:tr>
              <a:tr h="240788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65489070"/>
                  </a:ext>
                </a:extLst>
              </a:tr>
              <a:tr h="240788"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1B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2760808"/>
                  </a:ext>
                </a:extLst>
              </a:tr>
            </a:tbl>
          </a:graphicData>
        </a:graphic>
      </p:graphicFrame>
      <p:sp>
        <p:nvSpPr>
          <p:cNvPr id="10" name="TextovéPole 5">
            <a:extLst>
              <a:ext uri="{FF2B5EF4-FFF2-40B4-BE49-F238E27FC236}">
                <a16:creationId xmlns:a16="http://schemas.microsoft.com/office/drawing/2014/main" id="{E3A22678-EE0A-4F0C-80A0-91CC52509AD0}"/>
              </a:ext>
            </a:extLst>
          </p:cNvPr>
          <p:cNvSpPr txBox="1"/>
          <p:nvPr/>
        </p:nvSpPr>
        <p:spPr>
          <a:xfrm>
            <a:off x="2990850" y="6567385"/>
            <a:ext cx="63627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100" dirty="0">
                <a:latin typeface="Calibri" panose="020F0502020204030204" pitchFamily="34" charset="0"/>
                <a:cs typeface="Calibri" panose="020F0502020204030204" pitchFamily="34" charset="0"/>
              </a:rPr>
              <a:t>Zdroj: ISIN – Informační systém infekční nemocí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AE238D39-7489-4465-AC4A-2E3C5F72AF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145" y="2"/>
            <a:ext cx="7502895" cy="576000"/>
          </a:xfrm>
        </p:spPr>
        <p:txBody>
          <a:bodyPr/>
          <a:lstStyle/>
          <a:p>
            <a:r>
              <a:rPr lang="cs-CZ" dirty="0"/>
              <a:t>Počty pracovníků ve zdravotnictví s nákazou COVID-19</a:t>
            </a:r>
          </a:p>
        </p:txBody>
      </p:sp>
      <p:sp>
        <p:nvSpPr>
          <p:cNvPr id="15" name="Obdélník 14">
            <a:extLst>
              <a:ext uri="{FF2B5EF4-FFF2-40B4-BE49-F238E27FC236}">
                <a16:creationId xmlns:a16="http://schemas.microsoft.com/office/drawing/2014/main" id="{1D66D047-1A81-43A9-AEC0-D36353A2C52D}"/>
              </a:ext>
            </a:extLst>
          </p:cNvPr>
          <p:cNvSpPr/>
          <p:nvPr/>
        </p:nvSpPr>
        <p:spPr>
          <a:xfrm>
            <a:off x="607274" y="646685"/>
            <a:ext cx="1097101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ctr">
              <a:defRPr/>
            </a:pPr>
            <a:r>
              <a:rPr lang="cs-CZ" sz="2000" b="1" dirty="0">
                <a:solidFill>
                  <a:srgbClr val="000000"/>
                </a:solidFill>
                <a:latin typeface="Calibri" panose="020F0502020204030204" pitchFamily="34" charset="0"/>
              </a:rPr>
              <a:t>Aktuální počet COVID-19 pozitivních, </a:t>
            </a:r>
            <a:r>
              <a:rPr lang="cs-CZ" sz="2000" b="1" dirty="0">
                <a:solidFill>
                  <a:srgbClr val="C00000"/>
                </a:solidFill>
                <a:latin typeface="Calibri" panose="020F0502020204030204" pitchFamily="34" charset="0"/>
              </a:rPr>
              <a:t>stav k 21. 10. 2021 </a:t>
            </a:r>
            <a:endParaRPr lang="cs-CZ" sz="2000" b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17" name="Tabulka 16">
            <a:extLst>
              <a:ext uri="{FF2B5EF4-FFF2-40B4-BE49-F238E27FC236}">
                <a16:creationId xmlns:a16="http://schemas.microsoft.com/office/drawing/2014/main" id="{35E2859C-4D5B-4818-B563-9E4138B938E9}"/>
              </a:ext>
            </a:extLst>
          </p:cNvPr>
          <p:cNvGraphicFramePr>
            <a:graphicFrameLocks noGrp="1"/>
          </p:cNvGraphicFramePr>
          <p:nvPr/>
        </p:nvGraphicFramePr>
        <p:xfrm>
          <a:off x="672701" y="1101986"/>
          <a:ext cx="10945906" cy="4780030"/>
        </p:xfrm>
        <a:graphic>
          <a:graphicData uri="http://schemas.openxmlformats.org/drawingml/2006/table">
            <a:tbl>
              <a:tblPr/>
              <a:tblGrid>
                <a:gridCol w="1670422">
                  <a:extLst>
                    <a:ext uri="{9D8B030D-6E8A-4147-A177-3AD203B41FA5}">
                      <a16:colId xmlns:a16="http://schemas.microsoft.com/office/drawing/2014/main" val="413071720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3345832007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1533895005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116061117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3216505177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3422552456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4012377110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1240375351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2366221837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915136564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1696405920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256011791"/>
                    </a:ext>
                  </a:extLst>
                </a:gridCol>
                <a:gridCol w="772957">
                  <a:extLst>
                    <a:ext uri="{9D8B030D-6E8A-4147-A177-3AD203B41FA5}">
                      <a16:colId xmlns:a16="http://schemas.microsoft.com/office/drawing/2014/main" val="1711815336"/>
                    </a:ext>
                  </a:extLst>
                </a:gridCol>
              </a:tblGrid>
              <a:tr h="553235"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ékaři</a:t>
                      </a:r>
                      <a:endParaRPr lang="cs-CZ" sz="16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0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0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esterská povolání 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(§ 5 Všeobecná sestra, § 5a Dětská sestra, § 6 Porodní asistentka, § 21b Praktická sestra)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0" i="0" u="none" strike="noStrike" dirty="0">
                        <a:solidFill>
                          <a:schemeClr val="accent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0" i="0" u="none" strike="noStrike" dirty="0">
                        <a:solidFill>
                          <a:schemeClr val="accent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statní zdravotničtí pracovníci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1832207"/>
                  </a:ext>
                </a:extLst>
              </a:tr>
              <a:tr h="614705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tis. obyvatel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úvazků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tis. obyvatel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úvazků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tis. obyvatel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úvazků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tis. obyvatel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čet osob na 100 úvazků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1881938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6640817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4809383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5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3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0249884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0390105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1515625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285489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3928224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3425417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1319143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69061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3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3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745060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3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5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59134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3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4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5124751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8326513"/>
                  </a:ext>
                </a:extLst>
              </a:tr>
              <a:tr h="2408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31328876"/>
                  </a:ext>
                </a:extLst>
              </a:tr>
            </a:tbl>
          </a:graphicData>
        </a:graphic>
      </p:graphicFrame>
      <p:sp>
        <p:nvSpPr>
          <p:cNvPr id="18" name="TextovéPole 17">
            <a:extLst>
              <a:ext uri="{FF2B5EF4-FFF2-40B4-BE49-F238E27FC236}">
                <a16:creationId xmlns:a16="http://schemas.microsoft.com/office/drawing/2014/main" id="{C60E1484-55C4-4B6F-A638-3236D2A6D736}"/>
              </a:ext>
            </a:extLst>
          </p:cNvPr>
          <p:cNvSpPr txBox="1"/>
          <p:nvPr/>
        </p:nvSpPr>
        <p:spPr>
          <a:xfrm>
            <a:off x="2209088" y="5966151"/>
            <a:ext cx="975134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>
                <a:latin typeface="Calibri" panose="020F0502020204030204" pitchFamily="34" charset="0"/>
                <a:cs typeface="Calibri" panose="020F0502020204030204" pitchFamily="34" charset="0"/>
              </a:rPr>
              <a:t>* Úvazky včetně smluvních pracovníků za rok 2019 podle statistických zjišťování MZ za rok 2019, v</a:t>
            </a:r>
            <a:r>
              <a:rPr lang="pt-BR" sz="1200" dirty="0">
                <a:latin typeface="Calibri" panose="020F0502020204030204" pitchFamily="34" charset="0"/>
                <a:cs typeface="Calibri" panose="020F0502020204030204" pitchFamily="34" charset="0"/>
              </a:rPr>
              <a:t>ýkaz</a:t>
            </a:r>
            <a:r>
              <a:rPr lang="cs-CZ" sz="1200" dirty="0">
                <a:latin typeface="Calibri" panose="020F0502020204030204" pitchFamily="34" charset="0"/>
                <a:cs typeface="Calibri" panose="020F0502020204030204" pitchFamily="34" charset="0"/>
              </a:rPr>
              <a:t>y</a:t>
            </a:r>
            <a:r>
              <a:rPr lang="pt-BR" sz="1200" dirty="0">
                <a:latin typeface="Calibri" panose="020F0502020204030204" pitchFamily="34" charset="0"/>
                <a:cs typeface="Calibri" panose="020F0502020204030204" pitchFamily="34" charset="0"/>
              </a:rPr>
              <a:t> E (MZ) 2-01, E (MZ) 3-01 a E (MZ) 4-01</a:t>
            </a:r>
            <a:endParaRPr lang="cs-CZ" sz="12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D38389EE-F8C1-4AAD-BB2B-BF9F71F72F8C}"/>
              </a:ext>
            </a:extLst>
          </p:cNvPr>
          <p:cNvSpPr txBox="1"/>
          <p:nvPr/>
        </p:nvSpPr>
        <p:spPr>
          <a:xfrm>
            <a:off x="4911603" y="6276375"/>
            <a:ext cx="70547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dirty="0"/>
              <a:t>Barevná škála vizualizuje rozsah hodnot v územích v rámci sledovaného ukazatele (sloupce)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1834C1AC-8D63-45D3-ADC1-6A054BF785C6}"/>
              </a:ext>
            </a:extLst>
          </p:cNvPr>
          <p:cNvGrpSpPr/>
          <p:nvPr/>
        </p:nvGrpSpPr>
        <p:grpSpPr>
          <a:xfrm>
            <a:off x="2768481" y="6338662"/>
            <a:ext cx="2143122" cy="171474"/>
            <a:chOff x="2185672" y="6586960"/>
            <a:chExt cx="2143122" cy="171474"/>
          </a:xfrm>
        </p:grpSpPr>
        <p:sp>
          <p:nvSpPr>
            <p:cNvPr id="22" name="TextovéPole 21">
              <a:extLst>
                <a:ext uri="{FF2B5EF4-FFF2-40B4-BE49-F238E27FC236}">
                  <a16:creationId xmlns:a16="http://schemas.microsoft.com/office/drawing/2014/main" id="{9B93F5A1-61AB-4ADF-8174-6F49ABD78FD6}"/>
                </a:ext>
              </a:extLst>
            </p:cNvPr>
            <p:cNvSpPr txBox="1"/>
            <p:nvPr/>
          </p:nvSpPr>
          <p:spPr>
            <a:xfrm>
              <a:off x="2185672" y="6586960"/>
              <a:ext cx="2143122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cs-CZ" sz="1000" dirty="0"/>
                <a:t>min %                                    max %</a:t>
              </a:r>
            </a:p>
          </p:txBody>
        </p:sp>
        <p:pic>
          <p:nvPicPr>
            <p:cNvPr id="24" name="Obrázek 23">
              <a:extLst>
                <a:ext uri="{FF2B5EF4-FFF2-40B4-BE49-F238E27FC236}">
                  <a16:creationId xmlns:a16="http://schemas.microsoft.com/office/drawing/2014/main" id="{A9AA69C9-AA2B-4055-9A8C-660DAE0AD60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653291" y="6586960"/>
              <a:ext cx="1190791" cy="17147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87557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NGAGE" val="{&quot;SavedSwatch&quot;:&quot;-16748873|-10780376|-3468525|-5151986|-9539986|Markido&quot;,&quot;Id&quot;:&quot;60abf0963433422b508f8030&quot;,&quot;SmartGridHorizontal&quot;:0,&quot;LinkedExcelSources&quot;:{},&quot;LinkedProjectSources&quot;:{},&quot;FlowConfig&quot;:{&quot;Canvas&quot;:{&quot;Slide&quot;:-1,&quot;Width&quot;:0,&quot;Height&quot;:0},&quot;Timeline&quot;:{&quot;Actions&quot;:[]}},&quot;LinkedSlideMergeSources&quot;:{},&quot;LinkedSharePointSlideMergeSources&quot;:{}}"/>
  <p:tag name="SLIDEFAB_CUSTOMSORTGLOBALLY" val="True"/>
</p:tagLst>
</file>

<file path=ppt/theme/theme1.xml><?xml version="1.0" encoding="utf-8"?>
<a:theme xmlns:a="http://schemas.openxmlformats.org/drawingml/2006/main" name="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zentace2" id="{2F500C3B-2BAF-4CA5-849A-B1EC376A25DB}" vid="{C99570C5-ACCF-4382-8246-136F83C28052}"/>
    </a:ext>
  </a:extLst>
</a:theme>
</file>

<file path=ppt/theme/theme2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576</TotalTime>
  <Words>7234</Words>
  <Application>Microsoft Office PowerPoint</Application>
  <PresentationFormat>Širokoúhlá obrazovka</PresentationFormat>
  <Paragraphs>1651</Paragraphs>
  <Slides>20</Slides>
  <Notes>19</Notes>
  <HiddenSlides>0</HiddenSlides>
  <MMClips>0</MMClips>
  <ScaleCrop>false</ScaleCrop>
  <HeadingPairs>
    <vt:vector size="6" baseType="variant">
      <vt:variant>
        <vt:lpstr>Použitá písma</vt:lpstr>
      </vt:variant>
      <vt:variant>
        <vt:i4>2</vt:i4>
      </vt:variant>
      <vt:variant>
        <vt:lpstr>Motiv</vt:lpstr>
      </vt:variant>
      <vt:variant>
        <vt:i4>1</vt:i4>
      </vt:variant>
      <vt:variant>
        <vt:lpstr>Nadpisy snímků</vt:lpstr>
      </vt:variant>
      <vt:variant>
        <vt:i4>20</vt:i4>
      </vt:variant>
    </vt:vector>
  </HeadingPairs>
  <TitlesOfParts>
    <vt:vector size="23" baseType="lpstr">
      <vt:lpstr>Arial</vt:lpstr>
      <vt:lpstr>Calibri</vt:lpstr>
      <vt:lpstr>Motiv Office</vt:lpstr>
      <vt:lpstr>Prezentace aplikace PowerPoint</vt:lpstr>
      <vt:lpstr>Očkování zdravotnických pracovníků </vt:lpstr>
      <vt:lpstr>Očkovaní zdravotničtí pracovníci celkem</vt:lpstr>
      <vt:lpstr>Očkování zdravotnických pracovníků – počty očkovaných v čase</vt:lpstr>
      <vt:lpstr>Očkovaní aktivní zdravotničtí pracovníci</vt:lpstr>
      <vt:lpstr>Vakcinace posilující dávkou</vt:lpstr>
      <vt:lpstr>Počty pracovníků ve zdravotnictví s nákazou COVID-19</vt:lpstr>
      <vt:lpstr>Počty pracovníků ve zdravotnictví s nákazou COVID-19</vt:lpstr>
      <vt:lpstr>Počty pracovníků ve zdravotnictví s nákazou COVID-19</vt:lpstr>
      <vt:lpstr>Počty pracovníků ve zdravotnictví (ZP) s nákazou COVID-19</vt:lpstr>
      <vt:lpstr>Očkování zdravotnických pracovníků </vt:lpstr>
      <vt:lpstr>Očkovaní zdravotníci v nemocnicích akutní lůžkové péče a ZZS</vt:lpstr>
      <vt:lpstr>Očkování zdravotnických pracovníků </vt:lpstr>
      <vt:lpstr>Přehled povolání u COVID-19 pozitivních ostatních zdravotnických pracovníků za období 01-10 / 2021 k 21. 10.</vt:lpstr>
      <vt:lpstr>Přehled povolání u COVID-19 pozitivních ostatních zdravotnických pracovníků za období 09-10 / 2021 k 21. 10.</vt:lpstr>
      <vt:lpstr>Očkovaní aktivní zdravotničtí pracovníci</vt:lpstr>
      <vt:lpstr>Očkovaní NLZP v nemocnicích akutní lůžkové péče a ZZS</vt:lpstr>
      <vt:lpstr>Očkovaní lékaři* podle typu zdravotnického zařízení</vt:lpstr>
      <vt:lpstr>Očkované sestry* podle typu zdravotnického zařízení</vt:lpstr>
      <vt:lpstr>Očkovaní ostatní ZP* podle typu zdravotnického zařízení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tiepidemický systém ČR PES</dc:title>
  <dc:creator>Martin Komenda</dc:creator>
  <cp:lastModifiedBy>Dušek Ladislav prof. RNDr. Ph.D.</cp:lastModifiedBy>
  <cp:revision>739</cp:revision>
  <dcterms:created xsi:type="dcterms:W3CDTF">2020-11-11T17:36:28Z</dcterms:created>
  <dcterms:modified xsi:type="dcterms:W3CDTF">2021-10-24T17:26:22Z</dcterms:modified>
</cp:coreProperties>
</file>